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1"/>
    <p:sldMasterId id="2147483774" r:id="rId2"/>
  </p:sldMasterIdLst>
  <p:notesMasterIdLst>
    <p:notesMasterId r:id="rId12"/>
  </p:notesMasterIdLst>
  <p:sldIdLst>
    <p:sldId id="308" r:id="rId3"/>
    <p:sldId id="311" r:id="rId4"/>
    <p:sldId id="312" r:id="rId5"/>
    <p:sldId id="320" r:id="rId6"/>
    <p:sldId id="314" r:id="rId7"/>
    <p:sldId id="315" r:id="rId8"/>
    <p:sldId id="318" r:id="rId9"/>
    <p:sldId id="319" r:id="rId10"/>
    <p:sldId id="310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E25281D-5FF8-4F61-816F-D487E8D27896}">
          <p14:sldIdLst>
            <p14:sldId id="308"/>
            <p14:sldId id="311"/>
            <p14:sldId id="312"/>
            <p14:sldId id="320"/>
            <p14:sldId id="314"/>
            <p14:sldId id="315"/>
          </p14:sldIdLst>
        </p14:section>
        <p14:section name="Practice" id="{B79FDC20-829F-42D2-9827-3B171D71F22D}">
          <p14:sldIdLst>
            <p14:sldId id="318"/>
            <p14:sldId id="319"/>
          </p14:sldIdLst>
        </p14:section>
        <p14:section name="Homework" id="{91BAE393-2B56-4B16-92A4-4DDBF09236A4}">
          <p14:sldIdLst>
            <p14:sldId id="310"/>
          </p14:sldIdLst>
        </p14:section>
        <p14:section name="Homework for higher Band score" id="{8D5EA575-07B0-4A86-84AC-934E5B56517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6698"/>
    <a:srgbClr val="CDCDCD"/>
    <a:srgbClr val="B3B3B3"/>
    <a:srgbClr val="EAAA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3576" autoAdjust="0"/>
  </p:normalViewPr>
  <p:slideViewPr>
    <p:cSldViewPr snapToGrid="0">
      <p:cViewPr varScale="1">
        <p:scale>
          <a:sx n="82" d="100"/>
          <a:sy n="82" d="100"/>
        </p:scale>
        <p:origin x="720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37EA0-BD15-4709-AE53-90FDD46DD63E}" type="datetimeFigureOut">
              <a:rPr lang="en-US" smtClean="0"/>
              <a:t>3/1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195D0C-77AA-471B-A87E-90E582EF0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103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 title="scalloped circle"/>
          <p:cNvSpPr/>
          <p:nvPr/>
        </p:nvSpPr>
        <p:spPr bwMode="auto">
          <a:xfrm>
            <a:off x="3557016" y="630936"/>
            <a:ext cx="5235575" cy="5229225"/>
          </a:xfrm>
          <a:custGeom>
            <a:avLst/>
            <a:gdLst/>
            <a:ahLst/>
            <a:cxnLst/>
            <a:rect l="0" t="0" r="r" b="b"/>
            <a:pathLst>
              <a:path w="3298" h="3294">
                <a:moveTo>
                  <a:pt x="1649" y="0"/>
                </a:moveTo>
                <a:lnTo>
                  <a:pt x="1681" y="3"/>
                </a:lnTo>
                <a:lnTo>
                  <a:pt x="1712" y="11"/>
                </a:lnTo>
                <a:lnTo>
                  <a:pt x="1742" y="23"/>
                </a:lnTo>
                <a:lnTo>
                  <a:pt x="1773" y="38"/>
                </a:lnTo>
                <a:lnTo>
                  <a:pt x="1802" y="55"/>
                </a:lnTo>
                <a:lnTo>
                  <a:pt x="1832" y="73"/>
                </a:lnTo>
                <a:lnTo>
                  <a:pt x="1862" y="89"/>
                </a:lnTo>
                <a:lnTo>
                  <a:pt x="1892" y="105"/>
                </a:lnTo>
                <a:lnTo>
                  <a:pt x="1921" y="117"/>
                </a:lnTo>
                <a:lnTo>
                  <a:pt x="1953" y="125"/>
                </a:lnTo>
                <a:lnTo>
                  <a:pt x="1984" y="129"/>
                </a:lnTo>
                <a:lnTo>
                  <a:pt x="2017" y="129"/>
                </a:lnTo>
                <a:lnTo>
                  <a:pt x="2051" y="127"/>
                </a:lnTo>
                <a:lnTo>
                  <a:pt x="2085" y="123"/>
                </a:lnTo>
                <a:lnTo>
                  <a:pt x="2119" y="118"/>
                </a:lnTo>
                <a:lnTo>
                  <a:pt x="2153" y="114"/>
                </a:lnTo>
                <a:lnTo>
                  <a:pt x="2187" y="111"/>
                </a:lnTo>
                <a:lnTo>
                  <a:pt x="2219" y="112"/>
                </a:lnTo>
                <a:lnTo>
                  <a:pt x="2250" y="116"/>
                </a:lnTo>
                <a:lnTo>
                  <a:pt x="2280" y="125"/>
                </a:lnTo>
                <a:lnTo>
                  <a:pt x="2305" y="138"/>
                </a:lnTo>
                <a:lnTo>
                  <a:pt x="2329" y="155"/>
                </a:lnTo>
                <a:lnTo>
                  <a:pt x="2350" y="175"/>
                </a:lnTo>
                <a:lnTo>
                  <a:pt x="2371" y="198"/>
                </a:lnTo>
                <a:lnTo>
                  <a:pt x="2390" y="222"/>
                </a:lnTo>
                <a:lnTo>
                  <a:pt x="2409" y="247"/>
                </a:lnTo>
                <a:lnTo>
                  <a:pt x="2428" y="272"/>
                </a:lnTo>
                <a:lnTo>
                  <a:pt x="2447" y="296"/>
                </a:lnTo>
                <a:lnTo>
                  <a:pt x="2467" y="319"/>
                </a:lnTo>
                <a:lnTo>
                  <a:pt x="2490" y="339"/>
                </a:lnTo>
                <a:lnTo>
                  <a:pt x="2512" y="357"/>
                </a:lnTo>
                <a:lnTo>
                  <a:pt x="2537" y="371"/>
                </a:lnTo>
                <a:lnTo>
                  <a:pt x="2564" y="383"/>
                </a:lnTo>
                <a:lnTo>
                  <a:pt x="2593" y="393"/>
                </a:lnTo>
                <a:lnTo>
                  <a:pt x="2623" y="402"/>
                </a:lnTo>
                <a:lnTo>
                  <a:pt x="2653" y="410"/>
                </a:lnTo>
                <a:lnTo>
                  <a:pt x="2684" y="418"/>
                </a:lnTo>
                <a:lnTo>
                  <a:pt x="2713" y="427"/>
                </a:lnTo>
                <a:lnTo>
                  <a:pt x="2742" y="437"/>
                </a:lnTo>
                <a:lnTo>
                  <a:pt x="2769" y="449"/>
                </a:lnTo>
                <a:lnTo>
                  <a:pt x="2793" y="464"/>
                </a:lnTo>
                <a:lnTo>
                  <a:pt x="2815" y="482"/>
                </a:lnTo>
                <a:lnTo>
                  <a:pt x="2833" y="504"/>
                </a:lnTo>
                <a:lnTo>
                  <a:pt x="2848" y="528"/>
                </a:lnTo>
                <a:lnTo>
                  <a:pt x="2860" y="555"/>
                </a:lnTo>
                <a:lnTo>
                  <a:pt x="2870" y="584"/>
                </a:lnTo>
                <a:lnTo>
                  <a:pt x="2879" y="613"/>
                </a:lnTo>
                <a:lnTo>
                  <a:pt x="2887" y="644"/>
                </a:lnTo>
                <a:lnTo>
                  <a:pt x="2895" y="674"/>
                </a:lnTo>
                <a:lnTo>
                  <a:pt x="2904" y="704"/>
                </a:lnTo>
                <a:lnTo>
                  <a:pt x="2914" y="733"/>
                </a:lnTo>
                <a:lnTo>
                  <a:pt x="2926" y="760"/>
                </a:lnTo>
                <a:lnTo>
                  <a:pt x="2940" y="785"/>
                </a:lnTo>
                <a:lnTo>
                  <a:pt x="2958" y="807"/>
                </a:lnTo>
                <a:lnTo>
                  <a:pt x="2978" y="830"/>
                </a:lnTo>
                <a:lnTo>
                  <a:pt x="3001" y="850"/>
                </a:lnTo>
                <a:lnTo>
                  <a:pt x="3025" y="869"/>
                </a:lnTo>
                <a:lnTo>
                  <a:pt x="3051" y="888"/>
                </a:lnTo>
                <a:lnTo>
                  <a:pt x="3076" y="907"/>
                </a:lnTo>
                <a:lnTo>
                  <a:pt x="3100" y="926"/>
                </a:lnTo>
                <a:lnTo>
                  <a:pt x="3123" y="947"/>
                </a:lnTo>
                <a:lnTo>
                  <a:pt x="3143" y="968"/>
                </a:lnTo>
                <a:lnTo>
                  <a:pt x="3160" y="992"/>
                </a:lnTo>
                <a:lnTo>
                  <a:pt x="3173" y="1017"/>
                </a:lnTo>
                <a:lnTo>
                  <a:pt x="3182" y="1047"/>
                </a:lnTo>
                <a:lnTo>
                  <a:pt x="3186" y="1078"/>
                </a:lnTo>
                <a:lnTo>
                  <a:pt x="3187" y="1110"/>
                </a:lnTo>
                <a:lnTo>
                  <a:pt x="3184" y="1144"/>
                </a:lnTo>
                <a:lnTo>
                  <a:pt x="3180" y="1178"/>
                </a:lnTo>
                <a:lnTo>
                  <a:pt x="3175" y="1212"/>
                </a:lnTo>
                <a:lnTo>
                  <a:pt x="3171" y="1246"/>
                </a:lnTo>
                <a:lnTo>
                  <a:pt x="3169" y="1280"/>
                </a:lnTo>
                <a:lnTo>
                  <a:pt x="3169" y="1313"/>
                </a:lnTo>
                <a:lnTo>
                  <a:pt x="3173" y="1344"/>
                </a:lnTo>
                <a:lnTo>
                  <a:pt x="3181" y="1375"/>
                </a:lnTo>
                <a:lnTo>
                  <a:pt x="3193" y="1404"/>
                </a:lnTo>
                <a:lnTo>
                  <a:pt x="3209" y="1434"/>
                </a:lnTo>
                <a:lnTo>
                  <a:pt x="3225" y="1464"/>
                </a:lnTo>
                <a:lnTo>
                  <a:pt x="3243" y="1494"/>
                </a:lnTo>
                <a:lnTo>
                  <a:pt x="3260" y="1523"/>
                </a:lnTo>
                <a:lnTo>
                  <a:pt x="3275" y="1554"/>
                </a:lnTo>
                <a:lnTo>
                  <a:pt x="3287" y="1584"/>
                </a:lnTo>
                <a:lnTo>
                  <a:pt x="3295" y="1615"/>
                </a:lnTo>
                <a:lnTo>
                  <a:pt x="3298" y="1647"/>
                </a:lnTo>
                <a:lnTo>
                  <a:pt x="3295" y="1679"/>
                </a:lnTo>
                <a:lnTo>
                  <a:pt x="3287" y="1710"/>
                </a:lnTo>
                <a:lnTo>
                  <a:pt x="3275" y="1740"/>
                </a:lnTo>
                <a:lnTo>
                  <a:pt x="3260" y="1771"/>
                </a:lnTo>
                <a:lnTo>
                  <a:pt x="3243" y="1800"/>
                </a:lnTo>
                <a:lnTo>
                  <a:pt x="3225" y="1830"/>
                </a:lnTo>
                <a:lnTo>
                  <a:pt x="3209" y="1860"/>
                </a:lnTo>
                <a:lnTo>
                  <a:pt x="3193" y="1890"/>
                </a:lnTo>
                <a:lnTo>
                  <a:pt x="3181" y="1919"/>
                </a:lnTo>
                <a:lnTo>
                  <a:pt x="3173" y="1950"/>
                </a:lnTo>
                <a:lnTo>
                  <a:pt x="3169" y="1981"/>
                </a:lnTo>
                <a:lnTo>
                  <a:pt x="3169" y="2014"/>
                </a:lnTo>
                <a:lnTo>
                  <a:pt x="3171" y="2048"/>
                </a:lnTo>
                <a:lnTo>
                  <a:pt x="3175" y="2082"/>
                </a:lnTo>
                <a:lnTo>
                  <a:pt x="3180" y="2116"/>
                </a:lnTo>
                <a:lnTo>
                  <a:pt x="3184" y="2150"/>
                </a:lnTo>
                <a:lnTo>
                  <a:pt x="3187" y="2184"/>
                </a:lnTo>
                <a:lnTo>
                  <a:pt x="3186" y="2216"/>
                </a:lnTo>
                <a:lnTo>
                  <a:pt x="3182" y="2247"/>
                </a:lnTo>
                <a:lnTo>
                  <a:pt x="3173" y="2277"/>
                </a:lnTo>
                <a:lnTo>
                  <a:pt x="3160" y="2302"/>
                </a:lnTo>
                <a:lnTo>
                  <a:pt x="3143" y="2326"/>
                </a:lnTo>
                <a:lnTo>
                  <a:pt x="3123" y="2347"/>
                </a:lnTo>
                <a:lnTo>
                  <a:pt x="3100" y="2368"/>
                </a:lnTo>
                <a:lnTo>
                  <a:pt x="3076" y="2387"/>
                </a:lnTo>
                <a:lnTo>
                  <a:pt x="3051" y="2406"/>
                </a:lnTo>
                <a:lnTo>
                  <a:pt x="3025" y="2425"/>
                </a:lnTo>
                <a:lnTo>
                  <a:pt x="3001" y="2444"/>
                </a:lnTo>
                <a:lnTo>
                  <a:pt x="2978" y="2464"/>
                </a:lnTo>
                <a:lnTo>
                  <a:pt x="2958" y="2487"/>
                </a:lnTo>
                <a:lnTo>
                  <a:pt x="2940" y="2509"/>
                </a:lnTo>
                <a:lnTo>
                  <a:pt x="2926" y="2534"/>
                </a:lnTo>
                <a:lnTo>
                  <a:pt x="2914" y="2561"/>
                </a:lnTo>
                <a:lnTo>
                  <a:pt x="2904" y="2590"/>
                </a:lnTo>
                <a:lnTo>
                  <a:pt x="2895" y="2620"/>
                </a:lnTo>
                <a:lnTo>
                  <a:pt x="2887" y="2650"/>
                </a:lnTo>
                <a:lnTo>
                  <a:pt x="2879" y="2681"/>
                </a:lnTo>
                <a:lnTo>
                  <a:pt x="2870" y="2710"/>
                </a:lnTo>
                <a:lnTo>
                  <a:pt x="2860" y="2739"/>
                </a:lnTo>
                <a:lnTo>
                  <a:pt x="2848" y="2766"/>
                </a:lnTo>
                <a:lnTo>
                  <a:pt x="2833" y="2790"/>
                </a:lnTo>
                <a:lnTo>
                  <a:pt x="2815" y="2812"/>
                </a:lnTo>
                <a:lnTo>
                  <a:pt x="2793" y="2830"/>
                </a:lnTo>
                <a:lnTo>
                  <a:pt x="2769" y="2845"/>
                </a:lnTo>
                <a:lnTo>
                  <a:pt x="2742" y="2857"/>
                </a:lnTo>
                <a:lnTo>
                  <a:pt x="2713" y="2867"/>
                </a:lnTo>
                <a:lnTo>
                  <a:pt x="2684" y="2876"/>
                </a:lnTo>
                <a:lnTo>
                  <a:pt x="2653" y="2884"/>
                </a:lnTo>
                <a:lnTo>
                  <a:pt x="2623" y="2892"/>
                </a:lnTo>
                <a:lnTo>
                  <a:pt x="2593" y="2901"/>
                </a:lnTo>
                <a:lnTo>
                  <a:pt x="2564" y="2911"/>
                </a:lnTo>
                <a:lnTo>
                  <a:pt x="2537" y="2923"/>
                </a:lnTo>
                <a:lnTo>
                  <a:pt x="2512" y="2937"/>
                </a:lnTo>
                <a:lnTo>
                  <a:pt x="2490" y="2955"/>
                </a:lnTo>
                <a:lnTo>
                  <a:pt x="2467" y="2975"/>
                </a:lnTo>
                <a:lnTo>
                  <a:pt x="2447" y="2998"/>
                </a:lnTo>
                <a:lnTo>
                  <a:pt x="2428" y="3022"/>
                </a:lnTo>
                <a:lnTo>
                  <a:pt x="2409" y="3047"/>
                </a:lnTo>
                <a:lnTo>
                  <a:pt x="2390" y="3072"/>
                </a:lnTo>
                <a:lnTo>
                  <a:pt x="2371" y="3096"/>
                </a:lnTo>
                <a:lnTo>
                  <a:pt x="2350" y="3119"/>
                </a:lnTo>
                <a:lnTo>
                  <a:pt x="2329" y="3139"/>
                </a:lnTo>
                <a:lnTo>
                  <a:pt x="2305" y="3156"/>
                </a:lnTo>
                <a:lnTo>
                  <a:pt x="2280" y="3169"/>
                </a:lnTo>
                <a:lnTo>
                  <a:pt x="2250" y="3178"/>
                </a:lnTo>
                <a:lnTo>
                  <a:pt x="2219" y="3182"/>
                </a:lnTo>
                <a:lnTo>
                  <a:pt x="2187" y="3183"/>
                </a:lnTo>
                <a:lnTo>
                  <a:pt x="2153" y="3180"/>
                </a:lnTo>
                <a:lnTo>
                  <a:pt x="2119" y="3176"/>
                </a:lnTo>
                <a:lnTo>
                  <a:pt x="2085" y="3171"/>
                </a:lnTo>
                <a:lnTo>
                  <a:pt x="2051" y="3167"/>
                </a:lnTo>
                <a:lnTo>
                  <a:pt x="2017" y="3165"/>
                </a:lnTo>
                <a:lnTo>
                  <a:pt x="1984" y="3165"/>
                </a:lnTo>
                <a:lnTo>
                  <a:pt x="1953" y="3169"/>
                </a:lnTo>
                <a:lnTo>
                  <a:pt x="1921" y="3177"/>
                </a:lnTo>
                <a:lnTo>
                  <a:pt x="1892" y="3189"/>
                </a:lnTo>
                <a:lnTo>
                  <a:pt x="1862" y="3205"/>
                </a:lnTo>
                <a:lnTo>
                  <a:pt x="1832" y="3221"/>
                </a:lnTo>
                <a:lnTo>
                  <a:pt x="1802" y="3239"/>
                </a:lnTo>
                <a:lnTo>
                  <a:pt x="1773" y="3256"/>
                </a:lnTo>
                <a:lnTo>
                  <a:pt x="1742" y="3271"/>
                </a:lnTo>
                <a:lnTo>
                  <a:pt x="1712" y="3283"/>
                </a:lnTo>
                <a:lnTo>
                  <a:pt x="1681" y="3291"/>
                </a:lnTo>
                <a:lnTo>
                  <a:pt x="1649" y="3294"/>
                </a:lnTo>
                <a:lnTo>
                  <a:pt x="1617" y="3291"/>
                </a:lnTo>
                <a:lnTo>
                  <a:pt x="1586" y="3283"/>
                </a:lnTo>
                <a:lnTo>
                  <a:pt x="1556" y="3271"/>
                </a:lnTo>
                <a:lnTo>
                  <a:pt x="1525" y="3256"/>
                </a:lnTo>
                <a:lnTo>
                  <a:pt x="1496" y="3239"/>
                </a:lnTo>
                <a:lnTo>
                  <a:pt x="1466" y="3221"/>
                </a:lnTo>
                <a:lnTo>
                  <a:pt x="1436" y="3205"/>
                </a:lnTo>
                <a:lnTo>
                  <a:pt x="1406" y="3189"/>
                </a:lnTo>
                <a:lnTo>
                  <a:pt x="1376" y="3177"/>
                </a:lnTo>
                <a:lnTo>
                  <a:pt x="1345" y="3169"/>
                </a:lnTo>
                <a:lnTo>
                  <a:pt x="1314" y="3165"/>
                </a:lnTo>
                <a:lnTo>
                  <a:pt x="1281" y="3165"/>
                </a:lnTo>
                <a:lnTo>
                  <a:pt x="1247" y="3167"/>
                </a:lnTo>
                <a:lnTo>
                  <a:pt x="1213" y="3171"/>
                </a:lnTo>
                <a:lnTo>
                  <a:pt x="1179" y="3176"/>
                </a:lnTo>
                <a:lnTo>
                  <a:pt x="1145" y="3180"/>
                </a:lnTo>
                <a:lnTo>
                  <a:pt x="1111" y="3183"/>
                </a:lnTo>
                <a:lnTo>
                  <a:pt x="1079" y="3182"/>
                </a:lnTo>
                <a:lnTo>
                  <a:pt x="1048" y="3178"/>
                </a:lnTo>
                <a:lnTo>
                  <a:pt x="1018" y="3169"/>
                </a:lnTo>
                <a:lnTo>
                  <a:pt x="993" y="3156"/>
                </a:lnTo>
                <a:lnTo>
                  <a:pt x="969" y="3139"/>
                </a:lnTo>
                <a:lnTo>
                  <a:pt x="948" y="3119"/>
                </a:lnTo>
                <a:lnTo>
                  <a:pt x="927" y="3096"/>
                </a:lnTo>
                <a:lnTo>
                  <a:pt x="908" y="3072"/>
                </a:lnTo>
                <a:lnTo>
                  <a:pt x="889" y="3047"/>
                </a:lnTo>
                <a:lnTo>
                  <a:pt x="870" y="3022"/>
                </a:lnTo>
                <a:lnTo>
                  <a:pt x="851" y="2998"/>
                </a:lnTo>
                <a:lnTo>
                  <a:pt x="831" y="2975"/>
                </a:lnTo>
                <a:lnTo>
                  <a:pt x="808" y="2955"/>
                </a:lnTo>
                <a:lnTo>
                  <a:pt x="786" y="2937"/>
                </a:lnTo>
                <a:lnTo>
                  <a:pt x="761" y="2923"/>
                </a:lnTo>
                <a:lnTo>
                  <a:pt x="734" y="2911"/>
                </a:lnTo>
                <a:lnTo>
                  <a:pt x="705" y="2901"/>
                </a:lnTo>
                <a:lnTo>
                  <a:pt x="675" y="2892"/>
                </a:lnTo>
                <a:lnTo>
                  <a:pt x="645" y="2884"/>
                </a:lnTo>
                <a:lnTo>
                  <a:pt x="614" y="2876"/>
                </a:lnTo>
                <a:lnTo>
                  <a:pt x="585" y="2867"/>
                </a:lnTo>
                <a:lnTo>
                  <a:pt x="556" y="2857"/>
                </a:lnTo>
                <a:lnTo>
                  <a:pt x="529" y="2845"/>
                </a:lnTo>
                <a:lnTo>
                  <a:pt x="505" y="2830"/>
                </a:lnTo>
                <a:lnTo>
                  <a:pt x="483" y="2812"/>
                </a:lnTo>
                <a:lnTo>
                  <a:pt x="465" y="2790"/>
                </a:lnTo>
                <a:lnTo>
                  <a:pt x="450" y="2766"/>
                </a:lnTo>
                <a:lnTo>
                  <a:pt x="438" y="2739"/>
                </a:lnTo>
                <a:lnTo>
                  <a:pt x="428" y="2710"/>
                </a:lnTo>
                <a:lnTo>
                  <a:pt x="419" y="2681"/>
                </a:lnTo>
                <a:lnTo>
                  <a:pt x="411" y="2650"/>
                </a:lnTo>
                <a:lnTo>
                  <a:pt x="403" y="2620"/>
                </a:lnTo>
                <a:lnTo>
                  <a:pt x="394" y="2590"/>
                </a:lnTo>
                <a:lnTo>
                  <a:pt x="384" y="2561"/>
                </a:lnTo>
                <a:lnTo>
                  <a:pt x="372" y="2534"/>
                </a:lnTo>
                <a:lnTo>
                  <a:pt x="358" y="2509"/>
                </a:lnTo>
                <a:lnTo>
                  <a:pt x="340" y="2487"/>
                </a:lnTo>
                <a:lnTo>
                  <a:pt x="320" y="2464"/>
                </a:lnTo>
                <a:lnTo>
                  <a:pt x="297" y="2444"/>
                </a:lnTo>
                <a:lnTo>
                  <a:pt x="272" y="2425"/>
                </a:lnTo>
                <a:lnTo>
                  <a:pt x="247" y="2406"/>
                </a:lnTo>
                <a:lnTo>
                  <a:pt x="222" y="2387"/>
                </a:lnTo>
                <a:lnTo>
                  <a:pt x="198" y="2368"/>
                </a:lnTo>
                <a:lnTo>
                  <a:pt x="175" y="2347"/>
                </a:lnTo>
                <a:lnTo>
                  <a:pt x="155" y="2326"/>
                </a:lnTo>
                <a:lnTo>
                  <a:pt x="138" y="2302"/>
                </a:lnTo>
                <a:lnTo>
                  <a:pt x="125" y="2277"/>
                </a:lnTo>
                <a:lnTo>
                  <a:pt x="116" y="2247"/>
                </a:lnTo>
                <a:lnTo>
                  <a:pt x="112" y="2216"/>
                </a:lnTo>
                <a:lnTo>
                  <a:pt x="111" y="2184"/>
                </a:lnTo>
                <a:lnTo>
                  <a:pt x="114" y="2150"/>
                </a:lnTo>
                <a:lnTo>
                  <a:pt x="118" y="2116"/>
                </a:lnTo>
                <a:lnTo>
                  <a:pt x="123" y="2082"/>
                </a:lnTo>
                <a:lnTo>
                  <a:pt x="127" y="2048"/>
                </a:lnTo>
                <a:lnTo>
                  <a:pt x="129" y="2014"/>
                </a:lnTo>
                <a:lnTo>
                  <a:pt x="129" y="1981"/>
                </a:lnTo>
                <a:lnTo>
                  <a:pt x="125" y="1950"/>
                </a:lnTo>
                <a:lnTo>
                  <a:pt x="117" y="1919"/>
                </a:lnTo>
                <a:lnTo>
                  <a:pt x="105" y="1890"/>
                </a:lnTo>
                <a:lnTo>
                  <a:pt x="90" y="1860"/>
                </a:lnTo>
                <a:lnTo>
                  <a:pt x="73" y="1830"/>
                </a:lnTo>
                <a:lnTo>
                  <a:pt x="55" y="1800"/>
                </a:lnTo>
                <a:lnTo>
                  <a:pt x="38" y="1771"/>
                </a:lnTo>
                <a:lnTo>
                  <a:pt x="23" y="1740"/>
                </a:lnTo>
                <a:lnTo>
                  <a:pt x="11" y="1710"/>
                </a:lnTo>
                <a:lnTo>
                  <a:pt x="3" y="1679"/>
                </a:lnTo>
                <a:lnTo>
                  <a:pt x="0" y="1647"/>
                </a:lnTo>
                <a:lnTo>
                  <a:pt x="3" y="1615"/>
                </a:lnTo>
                <a:lnTo>
                  <a:pt x="11" y="1584"/>
                </a:lnTo>
                <a:lnTo>
                  <a:pt x="23" y="1554"/>
                </a:lnTo>
                <a:lnTo>
                  <a:pt x="38" y="1523"/>
                </a:lnTo>
                <a:lnTo>
                  <a:pt x="55" y="1494"/>
                </a:lnTo>
                <a:lnTo>
                  <a:pt x="73" y="1464"/>
                </a:lnTo>
                <a:lnTo>
                  <a:pt x="90" y="1434"/>
                </a:lnTo>
                <a:lnTo>
                  <a:pt x="105" y="1404"/>
                </a:lnTo>
                <a:lnTo>
                  <a:pt x="117" y="1375"/>
                </a:lnTo>
                <a:lnTo>
                  <a:pt x="125" y="1344"/>
                </a:lnTo>
                <a:lnTo>
                  <a:pt x="129" y="1313"/>
                </a:lnTo>
                <a:lnTo>
                  <a:pt x="129" y="1280"/>
                </a:lnTo>
                <a:lnTo>
                  <a:pt x="127" y="1246"/>
                </a:lnTo>
                <a:lnTo>
                  <a:pt x="123" y="1212"/>
                </a:lnTo>
                <a:lnTo>
                  <a:pt x="118" y="1178"/>
                </a:lnTo>
                <a:lnTo>
                  <a:pt x="114" y="1144"/>
                </a:lnTo>
                <a:lnTo>
                  <a:pt x="111" y="1110"/>
                </a:lnTo>
                <a:lnTo>
                  <a:pt x="112" y="1078"/>
                </a:lnTo>
                <a:lnTo>
                  <a:pt x="116" y="1047"/>
                </a:lnTo>
                <a:lnTo>
                  <a:pt x="125" y="1017"/>
                </a:lnTo>
                <a:lnTo>
                  <a:pt x="138" y="992"/>
                </a:lnTo>
                <a:lnTo>
                  <a:pt x="155" y="968"/>
                </a:lnTo>
                <a:lnTo>
                  <a:pt x="175" y="947"/>
                </a:lnTo>
                <a:lnTo>
                  <a:pt x="198" y="926"/>
                </a:lnTo>
                <a:lnTo>
                  <a:pt x="222" y="907"/>
                </a:lnTo>
                <a:lnTo>
                  <a:pt x="247" y="888"/>
                </a:lnTo>
                <a:lnTo>
                  <a:pt x="272" y="869"/>
                </a:lnTo>
                <a:lnTo>
                  <a:pt x="297" y="850"/>
                </a:lnTo>
                <a:lnTo>
                  <a:pt x="320" y="830"/>
                </a:lnTo>
                <a:lnTo>
                  <a:pt x="340" y="807"/>
                </a:lnTo>
                <a:lnTo>
                  <a:pt x="358" y="785"/>
                </a:lnTo>
                <a:lnTo>
                  <a:pt x="372" y="760"/>
                </a:lnTo>
                <a:lnTo>
                  <a:pt x="384" y="733"/>
                </a:lnTo>
                <a:lnTo>
                  <a:pt x="394" y="704"/>
                </a:lnTo>
                <a:lnTo>
                  <a:pt x="403" y="674"/>
                </a:lnTo>
                <a:lnTo>
                  <a:pt x="411" y="644"/>
                </a:lnTo>
                <a:lnTo>
                  <a:pt x="419" y="613"/>
                </a:lnTo>
                <a:lnTo>
                  <a:pt x="428" y="584"/>
                </a:lnTo>
                <a:lnTo>
                  <a:pt x="438" y="555"/>
                </a:lnTo>
                <a:lnTo>
                  <a:pt x="450" y="528"/>
                </a:lnTo>
                <a:lnTo>
                  <a:pt x="465" y="504"/>
                </a:lnTo>
                <a:lnTo>
                  <a:pt x="483" y="482"/>
                </a:lnTo>
                <a:lnTo>
                  <a:pt x="505" y="464"/>
                </a:lnTo>
                <a:lnTo>
                  <a:pt x="529" y="449"/>
                </a:lnTo>
                <a:lnTo>
                  <a:pt x="556" y="437"/>
                </a:lnTo>
                <a:lnTo>
                  <a:pt x="585" y="427"/>
                </a:lnTo>
                <a:lnTo>
                  <a:pt x="614" y="418"/>
                </a:lnTo>
                <a:lnTo>
                  <a:pt x="645" y="410"/>
                </a:lnTo>
                <a:lnTo>
                  <a:pt x="675" y="402"/>
                </a:lnTo>
                <a:lnTo>
                  <a:pt x="705" y="393"/>
                </a:lnTo>
                <a:lnTo>
                  <a:pt x="734" y="383"/>
                </a:lnTo>
                <a:lnTo>
                  <a:pt x="761" y="371"/>
                </a:lnTo>
                <a:lnTo>
                  <a:pt x="786" y="357"/>
                </a:lnTo>
                <a:lnTo>
                  <a:pt x="808" y="339"/>
                </a:lnTo>
                <a:lnTo>
                  <a:pt x="831" y="319"/>
                </a:lnTo>
                <a:lnTo>
                  <a:pt x="851" y="296"/>
                </a:lnTo>
                <a:lnTo>
                  <a:pt x="870" y="272"/>
                </a:lnTo>
                <a:lnTo>
                  <a:pt x="889" y="247"/>
                </a:lnTo>
                <a:lnTo>
                  <a:pt x="908" y="222"/>
                </a:lnTo>
                <a:lnTo>
                  <a:pt x="927" y="198"/>
                </a:lnTo>
                <a:lnTo>
                  <a:pt x="948" y="175"/>
                </a:lnTo>
                <a:lnTo>
                  <a:pt x="969" y="155"/>
                </a:lnTo>
                <a:lnTo>
                  <a:pt x="993" y="138"/>
                </a:lnTo>
                <a:lnTo>
                  <a:pt x="1018" y="125"/>
                </a:lnTo>
                <a:lnTo>
                  <a:pt x="1048" y="116"/>
                </a:lnTo>
                <a:lnTo>
                  <a:pt x="1079" y="112"/>
                </a:lnTo>
                <a:lnTo>
                  <a:pt x="1111" y="111"/>
                </a:lnTo>
                <a:lnTo>
                  <a:pt x="1145" y="114"/>
                </a:lnTo>
                <a:lnTo>
                  <a:pt x="1179" y="118"/>
                </a:lnTo>
                <a:lnTo>
                  <a:pt x="1213" y="123"/>
                </a:lnTo>
                <a:lnTo>
                  <a:pt x="1247" y="127"/>
                </a:lnTo>
                <a:lnTo>
                  <a:pt x="1281" y="129"/>
                </a:lnTo>
                <a:lnTo>
                  <a:pt x="1314" y="129"/>
                </a:lnTo>
                <a:lnTo>
                  <a:pt x="1345" y="125"/>
                </a:lnTo>
                <a:lnTo>
                  <a:pt x="1376" y="117"/>
                </a:lnTo>
                <a:lnTo>
                  <a:pt x="1406" y="105"/>
                </a:lnTo>
                <a:lnTo>
                  <a:pt x="1436" y="89"/>
                </a:lnTo>
                <a:lnTo>
                  <a:pt x="1466" y="73"/>
                </a:lnTo>
                <a:lnTo>
                  <a:pt x="1496" y="55"/>
                </a:lnTo>
                <a:lnTo>
                  <a:pt x="1525" y="38"/>
                </a:lnTo>
                <a:lnTo>
                  <a:pt x="1556" y="23"/>
                </a:lnTo>
                <a:lnTo>
                  <a:pt x="1586" y="11"/>
                </a:lnTo>
                <a:lnTo>
                  <a:pt x="1617" y="3"/>
                </a:lnTo>
                <a:lnTo>
                  <a:pt x="1649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8523" y="1098388"/>
            <a:ext cx="10318418" cy="4394988"/>
          </a:xfrm>
        </p:spPr>
        <p:txBody>
          <a:bodyPr anchor="ctr">
            <a:noAutofit/>
          </a:bodyPr>
          <a:lstStyle>
            <a:lvl1pPr algn="ctr">
              <a:defRPr sz="10000" spc="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15045" y="5979196"/>
            <a:ext cx="8045373" cy="74227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 b="1" i="0" cap="all" spc="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78523" y="6375679"/>
            <a:ext cx="2329722" cy="348462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3/15/2023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0332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67218" y="6375679"/>
            <a:ext cx="2329723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‹#›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13" name="Rectangle 12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137420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002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066321" y="382386"/>
            <a:ext cx="1492132" cy="560040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382385"/>
            <a:ext cx="8392585" cy="560040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094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 title="scalloped circle"/>
          <p:cNvSpPr/>
          <p:nvPr/>
        </p:nvSpPr>
        <p:spPr bwMode="auto">
          <a:xfrm>
            <a:off x="3557016" y="630936"/>
            <a:ext cx="5235575" cy="5229225"/>
          </a:xfrm>
          <a:custGeom>
            <a:avLst/>
            <a:gdLst/>
            <a:ahLst/>
            <a:cxnLst/>
            <a:rect l="0" t="0" r="r" b="b"/>
            <a:pathLst>
              <a:path w="3298" h="3294">
                <a:moveTo>
                  <a:pt x="1649" y="0"/>
                </a:moveTo>
                <a:lnTo>
                  <a:pt x="1681" y="3"/>
                </a:lnTo>
                <a:lnTo>
                  <a:pt x="1712" y="11"/>
                </a:lnTo>
                <a:lnTo>
                  <a:pt x="1742" y="23"/>
                </a:lnTo>
                <a:lnTo>
                  <a:pt x="1773" y="38"/>
                </a:lnTo>
                <a:lnTo>
                  <a:pt x="1802" y="55"/>
                </a:lnTo>
                <a:lnTo>
                  <a:pt x="1832" y="73"/>
                </a:lnTo>
                <a:lnTo>
                  <a:pt x="1862" y="89"/>
                </a:lnTo>
                <a:lnTo>
                  <a:pt x="1892" y="105"/>
                </a:lnTo>
                <a:lnTo>
                  <a:pt x="1921" y="117"/>
                </a:lnTo>
                <a:lnTo>
                  <a:pt x="1953" y="125"/>
                </a:lnTo>
                <a:lnTo>
                  <a:pt x="1984" y="129"/>
                </a:lnTo>
                <a:lnTo>
                  <a:pt x="2017" y="129"/>
                </a:lnTo>
                <a:lnTo>
                  <a:pt x="2051" y="127"/>
                </a:lnTo>
                <a:lnTo>
                  <a:pt x="2085" y="123"/>
                </a:lnTo>
                <a:lnTo>
                  <a:pt x="2119" y="118"/>
                </a:lnTo>
                <a:lnTo>
                  <a:pt x="2153" y="114"/>
                </a:lnTo>
                <a:lnTo>
                  <a:pt x="2187" y="111"/>
                </a:lnTo>
                <a:lnTo>
                  <a:pt x="2219" y="112"/>
                </a:lnTo>
                <a:lnTo>
                  <a:pt x="2250" y="116"/>
                </a:lnTo>
                <a:lnTo>
                  <a:pt x="2280" y="125"/>
                </a:lnTo>
                <a:lnTo>
                  <a:pt x="2305" y="138"/>
                </a:lnTo>
                <a:lnTo>
                  <a:pt x="2329" y="155"/>
                </a:lnTo>
                <a:lnTo>
                  <a:pt x="2350" y="175"/>
                </a:lnTo>
                <a:lnTo>
                  <a:pt x="2371" y="198"/>
                </a:lnTo>
                <a:lnTo>
                  <a:pt x="2390" y="222"/>
                </a:lnTo>
                <a:lnTo>
                  <a:pt x="2409" y="247"/>
                </a:lnTo>
                <a:lnTo>
                  <a:pt x="2428" y="272"/>
                </a:lnTo>
                <a:lnTo>
                  <a:pt x="2447" y="296"/>
                </a:lnTo>
                <a:lnTo>
                  <a:pt x="2467" y="319"/>
                </a:lnTo>
                <a:lnTo>
                  <a:pt x="2490" y="339"/>
                </a:lnTo>
                <a:lnTo>
                  <a:pt x="2512" y="357"/>
                </a:lnTo>
                <a:lnTo>
                  <a:pt x="2537" y="371"/>
                </a:lnTo>
                <a:lnTo>
                  <a:pt x="2564" y="383"/>
                </a:lnTo>
                <a:lnTo>
                  <a:pt x="2593" y="393"/>
                </a:lnTo>
                <a:lnTo>
                  <a:pt x="2623" y="402"/>
                </a:lnTo>
                <a:lnTo>
                  <a:pt x="2653" y="410"/>
                </a:lnTo>
                <a:lnTo>
                  <a:pt x="2684" y="418"/>
                </a:lnTo>
                <a:lnTo>
                  <a:pt x="2713" y="427"/>
                </a:lnTo>
                <a:lnTo>
                  <a:pt x="2742" y="437"/>
                </a:lnTo>
                <a:lnTo>
                  <a:pt x="2769" y="449"/>
                </a:lnTo>
                <a:lnTo>
                  <a:pt x="2793" y="464"/>
                </a:lnTo>
                <a:lnTo>
                  <a:pt x="2815" y="482"/>
                </a:lnTo>
                <a:lnTo>
                  <a:pt x="2833" y="504"/>
                </a:lnTo>
                <a:lnTo>
                  <a:pt x="2848" y="528"/>
                </a:lnTo>
                <a:lnTo>
                  <a:pt x="2860" y="555"/>
                </a:lnTo>
                <a:lnTo>
                  <a:pt x="2870" y="584"/>
                </a:lnTo>
                <a:lnTo>
                  <a:pt x="2879" y="613"/>
                </a:lnTo>
                <a:lnTo>
                  <a:pt x="2887" y="644"/>
                </a:lnTo>
                <a:lnTo>
                  <a:pt x="2895" y="674"/>
                </a:lnTo>
                <a:lnTo>
                  <a:pt x="2904" y="704"/>
                </a:lnTo>
                <a:lnTo>
                  <a:pt x="2914" y="733"/>
                </a:lnTo>
                <a:lnTo>
                  <a:pt x="2926" y="760"/>
                </a:lnTo>
                <a:lnTo>
                  <a:pt x="2940" y="785"/>
                </a:lnTo>
                <a:lnTo>
                  <a:pt x="2958" y="807"/>
                </a:lnTo>
                <a:lnTo>
                  <a:pt x="2978" y="830"/>
                </a:lnTo>
                <a:lnTo>
                  <a:pt x="3001" y="850"/>
                </a:lnTo>
                <a:lnTo>
                  <a:pt x="3025" y="869"/>
                </a:lnTo>
                <a:lnTo>
                  <a:pt x="3051" y="888"/>
                </a:lnTo>
                <a:lnTo>
                  <a:pt x="3076" y="907"/>
                </a:lnTo>
                <a:lnTo>
                  <a:pt x="3100" y="926"/>
                </a:lnTo>
                <a:lnTo>
                  <a:pt x="3123" y="947"/>
                </a:lnTo>
                <a:lnTo>
                  <a:pt x="3143" y="968"/>
                </a:lnTo>
                <a:lnTo>
                  <a:pt x="3160" y="992"/>
                </a:lnTo>
                <a:lnTo>
                  <a:pt x="3173" y="1017"/>
                </a:lnTo>
                <a:lnTo>
                  <a:pt x="3182" y="1047"/>
                </a:lnTo>
                <a:lnTo>
                  <a:pt x="3186" y="1078"/>
                </a:lnTo>
                <a:lnTo>
                  <a:pt x="3187" y="1110"/>
                </a:lnTo>
                <a:lnTo>
                  <a:pt x="3184" y="1144"/>
                </a:lnTo>
                <a:lnTo>
                  <a:pt x="3180" y="1178"/>
                </a:lnTo>
                <a:lnTo>
                  <a:pt x="3175" y="1212"/>
                </a:lnTo>
                <a:lnTo>
                  <a:pt x="3171" y="1246"/>
                </a:lnTo>
                <a:lnTo>
                  <a:pt x="3169" y="1280"/>
                </a:lnTo>
                <a:lnTo>
                  <a:pt x="3169" y="1313"/>
                </a:lnTo>
                <a:lnTo>
                  <a:pt x="3173" y="1344"/>
                </a:lnTo>
                <a:lnTo>
                  <a:pt x="3181" y="1375"/>
                </a:lnTo>
                <a:lnTo>
                  <a:pt x="3193" y="1404"/>
                </a:lnTo>
                <a:lnTo>
                  <a:pt x="3209" y="1434"/>
                </a:lnTo>
                <a:lnTo>
                  <a:pt x="3225" y="1464"/>
                </a:lnTo>
                <a:lnTo>
                  <a:pt x="3243" y="1494"/>
                </a:lnTo>
                <a:lnTo>
                  <a:pt x="3260" y="1523"/>
                </a:lnTo>
                <a:lnTo>
                  <a:pt x="3275" y="1554"/>
                </a:lnTo>
                <a:lnTo>
                  <a:pt x="3287" y="1584"/>
                </a:lnTo>
                <a:lnTo>
                  <a:pt x="3295" y="1615"/>
                </a:lnTo>
                <a:lnTo>
                  <a:pt x="3298" y="1647"/>
                </a:lnTo>
                <a:lnTo>
                  <a:pt x="3295" y="1679"/>
                </a:lnTo>
                <a:lnTo>
                  <a:pt x="3287" y="1710"/>
                </a:lnTo>
                <a:lnTo>
                  <a:pt x="3275" y="1740"/>
                </a:lnTo>
                <a:lnTo>
                  <a:pt x="3260" y="1771"/>
                </a:lnTo>
                <a:lnTo>
                  <a:pt x="3243" y="1800"/>
                </a:lnTo>
                <a:lnTo>
                  <a:pt x="3225" y="1830"/>
                </a:lnTo>
                <a:lnTo>
                  <a:pt x="3209" y="1860"/>
                </a:lnTo>
                <a:lnTo>
                  <a:pt x="3193" y="1890"/>
                </a:lnTo>
                <a:lnTo>
                  <a:pt x="3181" y="1919"/>
                </a:lnTo>
                <a:lnTo>
                  <a:pt x="3173" y="1950"/>
                </a:lnTo>
                <a:lnTo>
                  <a:pt x="3169" y="1981"/>
                </a:lnTo>
                <a:lnTo>
                  <a:pt x="3169" y="2014"/>
                </a:lnTo>
                <a:lnTo>
                  <a:pt x="3171" y="2048"/>
                </a:lnTo>
                <a:lnTo>
                  <a:pt x="3175" y="2082"/>
                </a:lnTo>
                <a:lnTo>
                  <a:pt x="3180" y="2116"/>
                </a:lnTo>
                <a:lnTo>
                  <a:pt x="3184" y="2150"/>
                </a:lnTo>
                <a:lnTo>
                  <a:pt x="3187" y="2184"/>
                </a:lnTo>
                <a:lnTo>
                  <a:pt x="3186" y="2216"/>
                </a:lnTo>
                <a:lnTo>
                  <a:pt x="3182" y="2247"/>
                </a:lnTo>
                <a:lnTo>
                  <a:pt x="3173" y="2277"/>
                </a:lnTo>
                <a:lnTo>
                  <a:pt x="3160" y="2302"/>
                </a:lnTo>
                <a:lnTo>
                  <a:pt x="3143" y="2326"/>
                </a:lnTo>
                <a:lnTo>
                  <a:pt x="3123" y="2347"/>
                </a:lnTo>
                <a:lnTo>
                  <a:pt x="3100" y="2368"/>
                </a:lnTo>
                <a:lnTo>
                  <a:pt x="3076" y="2387"/>
                </a:lnTo>
                <a:lnTo>
                  <a:pt x="3051" y="2406"/>
                </a:lnTo>
                <a:lnTo>
                  <a:pt x="3025" y="2425"/>
                </a:lnTo>
                <a:lnTo>
                  <a:pt x="3001" y="2444"/>
                </a:lnTo>
                <a:lnTo>
                  <a:pt x="2978" y="2464"/>
                </a:lnTo>
                <a:lnTo>
                  <a:pt x="2958" y="2487"/>
                </a:lnTo>
                <a:lnTo>
                  <a:pt x="2940" y="2509"/>
                </a:lnTo>
                <a:lnTo>
                  <a:pt x="2926" y="2534"/>
                </a:lnTo>
                <a:lnTo>
                  <a:pt x="2914" y="2561"/>
                </a:lnTo>
                <a:lnTo>
                  <a:pt x="2904" y="2590"/>
                </a:lnTo>
                <a:lnTo>
                  <a:pt x="2895" y="2620"/>
                </a:lnTo>
                <a:lnTo>
                  <a:pt x="2887" y="2650"/>
                </a:lnTo>
                <a:lnTo>
                  <a:pt x="2879" y="2681"/>
                </a:lnTo>
                <a:lnTo>
                  <a:pt x="2870" y="2710"/>
                </a:lnTo>
                <a:lnTo>
                  <a:pt x="2860" y="2739"/>
                </a:lnTo>
                <a:lnTo>
                  <a:pt x="2848" y="2766"/>
                </a:lnTo>
                <a:lnTo>
                  <a:pt x="2833" y="2790"/>
                </a:lnTo>
                <a:lnTo>
                  <a:pt x="2815" y="2812"/>
                </a:lnTo>
                <a:lnTo>
                  <a:pt x="2793" y="2830"/>
                </a:lnTo>
                <a:lnTo>
                  <a:pt x="2769" y="2845"/>
                </a:lnTo>
                <a:lnTo>
                  <a:pt x="2742" y="2857"/>
                </a:lnTo>
                <a:lnTo>
                  <a:pt x="2713" y="2867"/>
                </a:lnTo>
                <a:lnTo>
                  <a:pt x="2684" y="2876"/>
                </a:lnTo>
                <a:lnTo>
                  <a:pt x="2653" y="2884"/>
                </a:lnTo>
                <a:lnTo>
                  <a:pt x="2623" y="2892"/>
                </a:lnTo>
                <a:lnTo>
                  <a:pt x="2593" y="2901"/>
                </a:lnTo>
                <a:lnTo>
                  <a:pt x="2564" y="2911"/>
                </a:lnTo>
                <a:lnTo>
                  <a:pt x="2537" y="2923"/>
                </a:lnTo>
                <a:lnTo>
                  <a:pt x="2512" y="2937"/>
                </a:lnTo>
                <a:lnTo>
                  <a:pt x="2490" y="2955"/>
                </a:lnTo>
                <a:lnTo>
                  <a:pt x="2467" y="2975"/>
                </a:lnTo>
                <a:lnTo>
                  <a:pt x="2447" y="2998"/>
                </a:lnTo>
                <a:lnTo>
                  <a:pt x="2428" y="3022"/>
                </a:lnTo>
                <a:lnTo>
                  <a:pt x="2409" y="3047"/>
                </a:lnTo>
                <a:lnTo>
                  <a:pt x="2390" y="3072"/>
                </a:lnTo>
                <a:lnTo>
                  <a:pt x="2371" y="3096"/>
                </a:lnTo>
                <a:lnTo>
                  <a:pt x="2350" y="3119"/>
                </a:lnTo>
                <a:lnTo>
                  <a:pt x="2329" y="3139"/>
                </a:lnTo>
                <a:lnTo>
                  <a:pt x="2305" y="3156"/>
                </a:lnTo>
                <a:lnTo>
                  <a:pt x="2280" y="3169"/>
                </a:lnTo>
                <a:lnTo>
                  <a:pt x="2250" y="3178"/>
                </a:lnTo>
                <a:lnTo>
                  <a:pt x="2219" y="3182"/>
                </a:lnTo>
                <a:lnTo>
                  <a:pt x="2187" y="3183"/>
                </a:lnTo>
                <a:lnTo>
                  <a:pt x="2153" y="3180"/>
                </a:lnTo>
                <a:lnTo>
                  <a:pt x="2119" y="3176"/>
                </a:lnTo>
                <a:lnTo>
                  <a:pt x="2085" y="3171"/>
                </a:lnTo>
                <a:lnTo>
                  <a:pt x="2051" y="3167"/>
                </a:lnTo>
                <a:lnTo>
                  <a:pt x="2017" y="3165"/>
                </a:lnTo>
                <a:lnTo>
                  <a:pt x="1984" y="3165"/>
                </a:lnTo>
                <a:lnTo>
                  <a:pt x="1953" y="3169"/>
                </a:lnTo>
                <a:lnTo>
                  <a:pt x="1921" y="3177"/>
                </a:lnTo>
                <a:lnTo>
                  <a:pt x="1892" y="3189"/>
                </a:lnTo>
                <a:lnTo>
                  <a:pt x="1862" y="3205"/>
                </a:lnTo>
                <a:lnTo>
                  <a:pt x="1832" y="3221"/>
                </a:lnTo>
                <a:lnTo>
                  <a:pt x="1802" y="3239"/>
                </a:lnTo>
                <a:lnTo>
                  <a:pt x="1773" y="3256"/>
                </a:lnTo>
                <a:lnTo>
                  <a:pt x="1742" y="3271"/>
                </a:lnTo>
                <a:lnTo>
                  <a:pt x="1712" y="3283"/>
                </a:lnTo>
                <a:lnTo>
                  <a:pt x="1681" y="3291"/>
                </a:lnTo>
                <a:lnTo>
                  <a:pt x="1649" y="3294"/>
                </a:lnTo>
                <a:lnTo>
                  <a:pt x="1617" y="3291"/>
                </a:lnTo>
                <a:lnTo>
                  <a:pt x="1586" y="3283"/>
                </a:lnTo>
                <a:lnTo>
                  <a:pt x="1556" y="3271"/>
                </a:lnTo>
                <a:lnTo>
                  <a:pt x="1525" y="3256"/>
                </a:lnTo>
                <a:lnTo>
                  <a:pt x="1496" y="3239"/>
                </a:lnTo>
                <a:lnTo>
                  <a:pt x="1466" y="3221"/>
                </a:lnTo>
                <a:lnTo>
                  <a:pt x="1436" y="3205"/>
                </a:lnTo>
                <a:lnTo>
                  <a:pt x="1406" y="3189"/>
                </a:lnTo>
                <a:lnTo>
                  <a:pt x="1376" y="3177"/>
                </a:lnTo>
                <a:lnTo>
                  <a:pt x="1345" y="3169"/>
                </a:lnTo>
                <a:lnTo>
                  <a:pt x="1314" y="3165"/>
                </a:lnTo>
                <a:lnTo>
                  <a:pt x="1281" y="3165"/>
                </a:lnTo>
                <a:lnTo>
                  <a:pt x="1247" y="3167"/>
                </a:lnTo>
                <a:lnTo>
                  <a:pt x="1213" y="3171"/>
                </a:lnTo>
                <a:lnTo>
                  <a:pt x="1179" y="3176"/>
                </a:lnTo>
                <a:lnTo>
                  <a:pt x="1145" y="3180"/>
                </a:lnTo>
                <a:lnTo>
                  <a:pt x="1111" y="3183"/>
                </a:lnTo>
                <a:lnTo>
                  <a:pt x="1079" y="3182"/>
                </a:lnTo>
                <a:lnTo>
                  <a:pt x="1048" y="3178"/>
                </a:lnTo>
                <a:lnTo>
                  <a:pt x="1018" y="3169"/>
                </a:lnTo>
                <a:lnTo>
                  <a:pt x="993" y="3156"/>
                </a:lnTo>
                <a:lnTo>
                  <a:pt x="969" y="3139"/>
                </a:lnTo>
                <a:lnTo>
                  <a:pt x="948" y="3119"/>
                </a:lnTo>
                <a:lnTo>
                  <a:pt x="927" y="3096"/>
                </a:lnTo>
                <a:lnTo>
                  <a:pt x="908" y="3072"/>
                </a:lnTo>
                <a:lnTo>
                  <a:pt x="889" y="3047"/>
                </a:lnTo>
                <a:lnTo>
                  <a:pt x="870" y="3022"/>
                </a:lnTo>
                <a:lnTo>
                  <a:pt x="851" y="2998"/>
                </a:lnTo>
                <a:lnTo>
                  <a:pt x="831" y="2975"/>
                </a:lnTo>
                <a:lnTo>
                  <a:pt x="808" y="2955"/>
                </a:lnTo>
                <a:lnTo>
                  <a:pt x="786" y="2937"/>
                </a:lnTo>
                <a:lnTo>
                  <a:pt x="761" y="2923"/>
                </a:lnTo>
                <a:lnTo>
                  <a:pt x="734" y="2911"/>
                </a:lnTo>
                <a:lnTo>
                  <a:pt x="705" y="2901"/>
                </a:lnTo>
                <a:lnTo>
                  <a:pt x="675" y="2892"/>
                </a:lnTo>
                <a:lnTo>
                  <a:pt x="645" y="2884"/>
                </a:lnTo>
                <a:lnTo>
                  <a:pt x="614" y="2876"/>
                </a:lnTo>
                <a:lnTo>
                  <a:pt x="585" y="2867"/>
                </a:lnTo>
                <a:lnTo>
                  <a:pt x="556" y="2857"/>
                </a:lnTo>
                <a:lnTo>
                  <a:pt x="529" y="2845"/>
                </a:lnTo>
                <a:lnTo>
                  <a:pt x="505" y="2830"/>
                </a:lnTo>
                <a:lnTo>
                  <a:pt x="483" y="2812"/>
                </a:lnTo>
                <a:lnTo>
                  <a:pt x="465" y="2790"/>
                </a:lnTo>
                <a:lnTo>
                  <a:pt x="450" y="2766"/>
                </a:lnTo>
                <a:lnTo>
                  <a:pt x="438" y="2739"/>
                </a:lnTo>
                <a:lnTo>
                  <a:pt x="428" y="2710"/>
                </a:lnTo>
                <a:lnTo>
                  <a:pt x="419" y="2681"/>
                </a:lnTo>
                <a:lnTo>
                  <a:pt x="411" y="2650"/>
                </a:lnTo>
                <a:lnTo>
                  <a:pt x="403" y="2620"/>
                </a:lnTo>
                <a:lnTo>
                  <a:pt x="394" y="2590"/>
                </a:lnTo>
                <a:lnTo>
                  <a:pt x="384" y="2561"/>
                </a:lnTo>
                <a:lnTo>
                  <a:pt x="372" y="2534"/>
                </a:lnTo>
                <a:lnTo>
                  <a:pt x="358" y="2509"/>
                </a:lnTo>
                <a:lnTo>
                  <a:pt x="340" y="2487"/>
                </a:lnTo>
                <a:lnTo>
                  <a:pt x="320" y="2464"/>
                </a:lnTo>
                <a:lnTo>
                  <a:pt x="297" y="2444"/>
                </a:lnTo>
                <a:lnTo>
                  <a:pt x="272" y="2425"/>
                </a:lnTo>
                <a:lnTo>
                  <a:pt x="247" y="2406"/>
                </a:lnTo>
                <a:lnTo>
                  <a:pt x="222" y="2387"/>
                </a:lnTo>
                <a:lnTo>
                  <a:pt x="198" y="2368"/>
                </a:lnTo>
                <a:lnTo>
                  <a:pt x="175" y="2347"/>
                </a:lnTo>
                <a:lnTo>
                  <a:pt x="155" y="2326"/>
                </a:lnTo>
                <a:lnTo>
                  <a:pt x="138" y="2302"/>
                </a:lnTo>
                <a:lnTo>
                  <a:pt x="125" y="2277"/>
                </a:lnTo>
                <a:lnTo>
                  <a:pt x="116" y="2247"/>
                </a:lnTo>
                <a:lnTo>
                  <a:pt x="112" y="2216"/>
                </a:lnTo>
                <a:lnTo>
                  <a:pt x="111" y="2184"/>
                </a:lnTo>
                <a:lnTo>
                  <a:pt x="114" y="2150"/>
                </a:lnTo>
                <a:lnTo>
                  <a:pt x="118" y="2116"/>
                </a:lnTo>
                <a:lnTo>
                  <a:pt x="123" y="2082"/>
                </a:lnTo>
                <a:lnTo>
                  <a:pt x="127" y="2048"/>
                </a:lnTo>
                <a:lnTo>
                  <a:pt x="129" y="2014"/>
                </a:lnTo>
                <a:lnTo>
                  <a:pt x="129" y="1981"/>
                </a:lnTo>
                <a:lnTo>
                  <a:pt x="125" y="1950"/>
                </a:lnTo>
                <a:lnTo>
                  <a:pt x="117" y="1919"/>
                </a:lnTo>
                <a:lnTo>
                  <a:pt x="105" y="1890"/>
                </a:lnTo>
                <a:lnTo>
                  <a:pt x="90" y="1860"/>
                </a:lnTo>
                <a:lnTo>
                  <a:pt x="73" y="1830"/>
                </a:lnTo>
                <a:lnTo>
                  <a:pt x="55" y="1800"/>
                </a:lnTo>
                <a:lnTo>
                  <a:pt x="38" y="1771"/>
                </a:lnTo>
                <a:lnTo>
                  <a:pt x="23" y="1740"/>
                </a:lnTo>
                <a:lnTo>
                  <a:pt x="11" y="1710"/>
                </a:lnTo>
                <a:lnTo>
                  <a:pt x="3" y="1679"/>
                </a:lnTo>
                <a:lnTo>
                  <a:pt x="0" y="1647"/>
                </a:lnTo>
                <a:lnTo>
                  <a:pt x="3" y="1615"/>
                </a:lnTo>
                <a:lnTo>
                  <a:pt x="11" y="1584"/>
                </a:lnTo>
                <a:lnTo>
                  <a:pt x="23" y="1554"/>
                </a:lnTo>
                <a:lnTo>
                  <a:pt x="38" y="1523"/>
                </a:lnTo>
                <a:lnTo>
                  <a:pt x="55" y="1494"/>
                </a:lnTo>
                <a:lnTo>
                  <a:pt x="73" y="1464"/>
                </a:lnTo>
                <a:lnTo>
                  <a:pt x="90" y="1434"/>
                </a:lnTo>
                <a:lnTo>
                  <a:pt x="105" y="1404"/>
                </a:lnTo>
                <a:lnTo>
                  <a:pt x="117" y="1375"/>
                </a:lnTo>
                <a:lnTo>
                  <a:pt x="125" y="1344"/>
                </a:lnTo>
                <a:lnTo>
                  <a:pt x="129" y="1313"/>
                </a:lnTo>
                <a:lnTo>
                  <a:pt x="129" y="1280"/>
                </a:lnTo>
                <a:lnTo>
                  <a:pt x="127" y="1246"/>
                </a:lnTo>
                <a:lnTo>
                  <a:pt x="123" y="1212"/>
                </a:lnTo>
                <a:lnTo>
                  <a:pt x="118" y="1178"/>
                </a:lnTo>
                <a:lnTo>
                  <a:pt x="114" y="1144"/>
                </a:lnTo>
                <a:lnTo>
                  <a:pt x="111" y="1110"/>
                </a:lnTo>
                <a:lnTo>
                  <a:pt x="112" y="1078"/>
                </a:lnTo>
                <a:lnTo>
                  <a:pt x="116" y="1047"/>
                </a:lnTo>
                <a:lnTo>
                  <a:pt x="125" y="1017"/>
                </a:lnTo>
                <a:lnTo>
                  <a:pt x="138" y="992"/>
                </a:lnTo>
                <a:lnTo>
                  <a:pt x="155" y="968"/>
                </a:lnTo>
                <a:lnTo>
                  <a:pt x="175" y="947"/>
                </a:lnTo>
                <a:lnTo>
                  <a:pt x="198" y="926"/>
                </a:lnTo>
                <a:lnTo>
                  <a:pt x="222" y="907"/>
                </a:lnTo>
                <a:lnTo>
                  <a:pt x="247" y="888"/>
                </a:lnTo>
                <a:lnTo>
                  <a:pt x="272" y="869"/>
                </a:lnTo>
                <a:lnTo>
                  <a:pt x="297" y="850"/>
                </a:lnTo>
                <a:lnTo>
                  <a:pt x="320" y="830"/>
                </a:lnTo>
                <a:lnTo>
                  <a:pt x="340" y="807"/>
                </a:lnTo>
                <a:lnTo>
                  <a:pt x="358" y="785"/>
                </a:lnTo>
                <a:lnTo>
                  <a:pt x="372" y="760"/>
                </a:lnTo>
                <a:lnTo>
                  <a:pt x="384" y="733"/>
                </a:lnTo>
                <a:lnTo>
                  <a:pt x="394" y="704"/>
                </a:lnTo>
                <a:lnTo>
                  <a:pt x="403" y="674"/>
                </a:lnTo>
                <a:lnTo>
                  <a:pt x="411" y="644"/>
                </a:lnTo>
                <a:lnTo>
                  <a:pt x="419" y="613"/>
                </a:lnTo>
                <a:lnTo>
                  <a:pt x="428" y="584"/>
                </a:lnTo>
                <a:lnTo>
                  <a:pt x="438" y="555"/>
                </a:lnTo>
                <a:lnTo>
                  <a:pt x="450" y="528"/>
                </a:lnTo>
                <a:lnTo>
                  <a:pt x="465" y="504"/>
                </a:lnTo>
                <a:lnTo>
                  <a:pt x="483" y="482"/>
                </a:lnTo>
                <a:lnTo>
                  <a:pt x="505" y="464"/>
                </a:lnTo>
                <a:lnTo>
                  <a:pt x="529" y="449"/>
                </a:lnTo>
                <a:lnTo>
                  <a:pt x="556" y="437"/>
                </a:lnTo>
                <a:lnTo>
                  <a:pt x="585" y="427"/>
                </a:lnTo>
                <a:lnTo>
                  <a:pt x="614" y="418"/>
                </a:lnTo>
                <a:lnTo>
                  <a:pt x="645" y="410"/>
                </a:lnTo>
                <a:lnTo>
                  <a:pt x="675" y="402"/>
                </a:lnTo>
                <a:lnTo>
                  <a:pt x="705" y="393"/>
                </a:lnTo>
                <a:lnTo>
                  <a:pt x="734" y="383"/>
                </a:lnTo>
                <a:lnTo>
                  <a:pt x="761" y="371"/>
                </a:lnTo>
                <a:lnTo>
                  <a:pt x="786" y="357"/>
                </a:lnTo>
                <a:lnTo>
                  <a:pt x="808" y="339"/>
                </a:lnTo>
                <a:lnTo>
                  <a:pt x="831" y="319"/>
                </a:lnTo>
                <a:lnTo>
                  <a:pt x="851" y="296"/>
                </a:lnTo>
                <a:lnTo>
                  <a:pt x="870" y="272"/>
                </a:lnTo>
                <a:lnTo>
                  <a:pt x="889" y="247"/>
                </a:lnTo>
                <a:lnTo>
                  <a:pt x="908" y="222"/>
                </a:lnTo>
                <a:lnTo>
                  <a:pt x="927" y="198"/>
                </a:lnTo>
                <a:lnTo>
                  <a:pt x="948" y="175"/>
                </a:lnTo>
                <a:lnTo>
                  <a:pt x="969" y="155"/>
                </a:lnTo>
                <a:lnTo>
                  <a:pt x="993" y="138"/>
                </a:lnTo>
                <a:lnTo>
                  <a:pt x="1018" y="125"/>
                </a:lnTo>
                <a:lnTo>
                  <a:pt x="1048" y="116"/>
                </a:lnTo>
                <a:lnTo>
                  <a:pt x="1079" y="112"/>
                </a:lnTo>
                <a:lnTo>
                  <a:pt x="1111" y="111"/>
                </a:lnTo>
                <a:lnTo>
                  <a:pt x="1145" y="114"/>
                </a:lnTo>
                <a:lnTo>
                  <a:pt x="1179" y="118"/>
                </a:lnTo>
                <a:lnTo>
                  <a:pt x="1213" y="123"/>
                </a:lnTo>
                <a:lnTo>
                  <a:pt x="1247" y="127"/>
                </a:lnTo>
                <a:lnTo>
                  <a:pt x="1281" y="129"/>
                </a:lnTo>
                <a:lnTo>
                  <a:pt x="1314" y="129"/>
                </a:lnTo>
                <a:lnTo>
                  <a:pt x="1345" y="125"/>
                </a:lnTo>
                <a:lnTo>
                  <a:pt x="1376" y="117"/>
                </a:lnTo>
                <a:lnTo>
                  <a:pt x="1406" y="105"/>
                </a:lnTo>
                <a:lnTo>
                  <a:pt x="1436" y="89"/>
                </a:lnTo>
                <a:lnTo>
                  <a:pt x="1466" y="73"/>
                </a:lnTo>
                <a:lnTo>
                  <a:pt x="1496" y="55"/>
                </a:lnTo>
                <a:lnTo>
                  <a:pt x="1525" y="38"/>
                </a:lnTo>
                <a:lnTo>
                  <a:pt x="1556" y="23"/>
                </a:lnTo>
                <a:lnTo>
                  <a:pt x="1586" y="11"/>
                </a:lnTo>
                <a:lnTo>
                  <a:pt x="1617" y="3"/>
                </a:lnTo>
                <a:lnTo>
                  <a:pt x="1649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8523" y="1098388"/>
            <a:ext cx="10318418" cy="4394988"/>
          </a:xfrm>
        </p:spPr>
        <p:txBody>
          <a:bodyPr anchor="ctr">
            <a:noAutofit/>
          </a:bodyPr>
          <a:lstStyle>
            <a:lvl1pPr algn="ctr">
              <a:defRPr sz="10000" spc="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15045" y="5979196"/>
            <a:ext cx="8045373" cy="74227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 b="1" i="0" cap="all" spc="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78523" y="6375679"/>
            <a:ext cx="2329722" cy="348462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3/15/2023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0332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67218" y="6375679"/>
            <a:ext cx="2329723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‹#›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13" name="Rectangle 12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2682853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9862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2929" y="1073888"/>
            <a:ext cx="8187071" cy="4064627"/>
          </a:xfrm>
        </p:spPr>
        <p:txBody>
          <a:bodyPr anchor="b">
            <a:normAutofit/>
          </a:bodyPr>
          <a:lstStyle>
            <a:lvl1pPr>
              <a:defRPr sz="8400" spc="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2930" y="5159781"/>
            <a:ext cx="7017488" cy="9511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 cap="all" spc="4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6546" y="6375679"/>
            <a:ext cx="1493947" cy="34846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FFFF"/>
                </a:solidFill>
              </a:rPr>
              <a:pPr/>
              <a:t>3/15/202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279064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42434" y="6375679"/>
            <a:ext cx="1487566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" title="left scallop shape"/>
          <p:cNvGrpSpPr/>
          <p:nvPr/>
        </p:nvGrpSpPr>
        <p:grpSpPr>
          <a:xfrm>
            <a:off x="0" y="0"/>
            <a:ext cx="2814638" cy="6858000"/>
            <a:chOff x="0" y="0"/>
            <a:chExt cx="2814638" cy="6858000"/>
          </a:xfrm>
        </p:grpSpPr>
        <p:sp>
          <p:nvSpPr>
            <p:cNvPr id="11" name="Freeform 6" title="left scallop shape"/>
            <p:cNvSpPr/>
            <p:nvPr/>
          </p:nvSpPr>
          <p:spPr bwMode="auto">
            <a:xfrm>
              <a:off x="0" y="0"/>
              <a:ext cx="2814638" cy="6858000"/>
            </a:xfrm>
            <a:custGeom>
              <a:avLst/>
              <a:gdLst/>
              <a:ahLst/>
              <a:cxnLst/>
              <a:rect l="0" t="0" r="r" b="b"/>
              <a:pathLst>
                <a:path w="1773" h="4320">
                  <a:moveTo>
                    <a:pt x="0" y="0"/>
                  </a:moveTo>
                  <a:lnTo>
                    <a:pt x="891" y="0"/>
                  </a:lnTo>
                  <a:lnTo>
                    <a:pt x="906" y="56"/>
                  </a:lnTo>
                  <a:lnTo>
                    <a:pt x="921" y="111"/>
                  </a:lnTo>
                  <a:lnTo>
                    <a:pt x="938" y="165"/>
                  </a:lnTo>
                  <a:lnTo>
                    <a:pt x="957" y="217"/>
                  </a:lnTo>
                  <a:lnTo>
                    <a:pt x="980" y="266"/>
                  </a:lnTo>
                  <a:lnTo>
                    <a:pt x="1007" y="312"/>
                  </a:lnTo>
                  <a:lnTo>
                    <a:pt x="1036" y="351"/>
                  </a:lnTo>
                  <a:lnTo>
                    <a:pt x="1069" y="387"/>
                  </a:lnTo>
                  <a:lnTo>
                    <a:pt x="1105" y="422"/>
                  </a:lnTo>
                  <a:lnTo>
                    <a:pt x="1145" y="456"/>
                  </a:lnTo>
                  <a:lnTo>
                    <a:pt x="1185" y="487"/>
                  </a:lnTo>
                  <a:lnTo>
                    <a:pt x="1227" y="520"/>
                  </a:lnTo>
                  <a:lnTo>
                    <a:pt x="1270" y="551"/>
                  </a:lnTo>
                  <a:lnTo>
                    <a:pt x="1311" y="584"/>
                  </a:lnTo>
                  <a:lnTo>
                    <a:pt x="1352" y="617"/>
                  </a:lnTo>
                  <a:lnTo>
                    <a:pt x="1390" y="651"/>
                  </a:lnTo>
                  <a:lnTo>
                    <a:pt x="1425" y="687"/>
                  </a:lnTo>
                  <a:lnTo>
                    <a:pt x="1456" y="725"/>
                  </a:lnTo>
                  <a:lnTo>
                    <a:pt x="1484" y="765"/>
                  </a:lnTo>
                  <a:lnTo>
                    <a:pt x="1505" y="808"/>
                  </a:lnTo>
                  <a:lnTo>
                    <a:pt x="1521" y="856"/>
                  </a:lnTo>
                  <a:lnTo>
                    <a:pt x="1530" y="907"/>
                  </a:lnTo>
                  <a:lnTo>
                    <a:pt x="1534" y="960"/>
                  </a:lnTo>
                  <a:lnTo>
                    <a:pt x="1534" y="1013"/>
                  </a:lnTo>
                  <a:lnTo>
                    <a:pt x="1530" y="1068"/>
                  </a:lnTo>
                  <a:lnTo>
                    <a:pt x="1523" y="1125"/>
                  </a:lnTo>
                  <a:lnTo>
                    <a:pt x="1515" y="1181"/>
                  </a:lnTo>
                  <a:lnTo>
                    <a:pt x="1508" y="1237"/>
                  </a:lnTo>
                  <a:lnTo>
                    <a:pt x="1501" y="1293"/>
                  </a:lnTo>
                  <a:lnTo>
                    <a:pt x="1496" y="1350"/>
                  </a:lnTo>
                  <a:lnTo>
                    <a:pt x="1494" y="1405"/>
                  </a:lnTo>
                  <a:lnTo>
                    <a:pt x="1497" y="1458"/>
                  </a:lnTo>
                  <a:lnTo>
                    <a:pt x="1504" y="1511"/>
                  </a:lnTo>
                  <a:lnTo>
                    <a:pt x="1517" y="1560"/>
                  </a:lnTo>
                  <a:lnTo>
                    <a:pt x="1535" y="1610"/>
                  </a:lnTo>
                  <a:lnTo>
                    <a:pt x="1557" y="1659"/>
                  </a:lnTo>
                  <a:lnTo>
                    <a:pt x="1583" y="1708"/>
                  </a:lnTo>
                  <a:lnTo>
                    <a:pt x="1611" y="1757"/>
                  </a:lnTo>
                  <a:lnTo>
                    <a:pt x="1640" y="1807"/>
                  </a:lnTo>
                  <a:lnTo>
                    <a:pt x="1669" y="1855"/>
                  </a:lnTo>
                  <a:lnTo>
                    <a:pt x="1696" y="1905"/>
                  </a:lnTo>
                  <a:lnTo>
                    <a:pt x="1721" y="1954"/>
                  </a:lnTo>
                  <a:lnTo>
                    <a:pt x="1742" y="2006"/>
                  </a:lnTo>
                  <a:lnTo>
                    <a:pt x="1759" y="2057"/>
                  </a:lnTo>
                  <a:lnTo>
                    <a:pt x="1769" y="2108"/>
                  </a:lnTo>
                  <a:lnTo>
                    <a:pt x="1773" y="2160"/>
                  </a:lnTo>
                  <a:lnTo>
                    <a:pt x="1769" y="2212"/>
                  </a:lnTo>
                  <a:lnTo>
                    <a:pt x="1759" y="2263"/>
                  </a:lnTo>
                  <a:lnTo>
                    <a:pt x="1742" y="2314"/>
                  </a:lnTo>
                  <a:lnTo>
                    <a:pt x="1721" y="2366"/>
                  </a:lnTo>
                  <a:lnTo>
                    <a:pt x="1696" y="2415"/>
                  </a:lnTo>
                  <a:lnTo>
                    <a:pt x="1669" y="2465"/>
                  </a:lnTo>
                  <a:lnTo>
                    <a:pt x="1640" y="2513"/>
                  </a:lnTo>
                  <a:lnTo>
                    <a:pt x="1611" y="2563"/>
                  </a:lnTo>
                  <a:lnTo>
                    <a:pt x="1583" y="2612"/>
                  </a:lnTo>
                  <a:lnTo>
                    <a:pt x="1557" y="2661"/>
                  </a:lnTo>
                  <a:lnTo>
                    <a:pt x="1535" y="2710"/>
                  </a:lnTo>
                  <a:lnTo>
                    <a:pt x="1517" y="2760"/>
                  </a:lnTo>
                  <a:lnTo>
                    <a:pt x="1504" y="2809"/>
                  </a:lnTo>
                  <a:lnTo>
                    <a:pt x="1497" y="2862"/>
                  </a:lnTo>
                  <a:lnTo>
                    <a:pt x="1494" y="2915"/>
                  </a:lnTo>
                  <a:lnTo>
                    <a:pt x="1496" y="2970"/>
                  </a:lnTo>
                  <a:lnTo>
                    <a:pt x="1501" y="3027"/>
                  </a:lnTo>
                  <a:lnTo>
                    <a:pt x="1508" y="3083"/>
                  </a:lnTo>
                  <a:lnTo>
                    <a:pt x="1515" y="3139"/>
                  </a:lnTo>
                  <a:lnTo>
                    <a:pt x="1523" y="3195"/>
                  </a:lnTo>
                  <a:lnTo>
                    <a:pt x="1530" y="3252"/>
                  </a:lnTo>
                  <a:lnTo>
                    <a:pt x="1534" y="3307"/>
                  </a:lnTo>
                  <a:lnTo>
                    <a:pt x="1534" y="3360"/>
                  </a:lnTo>
                  <a:lnTo>
                    <a:pt x="1530" y="3413"/>
                  </a:lnTo>
                  <a:lnTo>
                    <a:pt x="1521" y="3464"/>
                  </a:lnTo>
                  <a:lnTo>
                    <a:pt x="1505" y="3512"/>
                  </a:lnTo>
                  <a:lnTo>
                    <a:pt x="1484" y="3555"/>
                  </a:lnTo>
                  <a:lnTo>
                    <a:pt x="1456" y="3595"/>
                  </a:lnTo>
                  <a:lnTo>
                    <a:pt x="1425" y="3633"/>
                  </a:lnTo>
                  <a:lnTo>
                    <a:pt x="1390" y="3669"/>
                  </a:lnTo>
                  <a:lnTo>
                    <a:pt x="1352" y="3703"/>
                  </a:lnTo>
                  <a:lnTo>
                    <a:pt x="1311" y="3736"/>
                  </a:lnTo>
                  <a:lnTo>
                    <a:pt x="1270" y="3769"/>
                  </a:lnTo>
                  <a:lnTo>
                    <a:pt x="1227" y="3800"/>
                  </a:lnTo>
                  <a:lnTo>
                    <a:pt x="1185" y="3833"/>
                  </a:lnTo>
                  <a:lnTo>
                    <a:pt x="1145" y="3864"/>
                  </a:lnTo>
                  <a:lnTo>
                    <a:pt x="1105" y="3898"/>
                  </a:lnTo>
                  <a:lnTo>
                    <a:pt x="1069" y="3933"/>
                  </a:lnTo>
                  <a:lnTo>
                    <a:pt x="1036" y="3969"/>
                  </a:lnTo>
                  <a:lnTo>
                    <a:pt x="1007" y="4008"/>
                  </a:lnTo>
                  <a:lnTo>
                    <a:pt x="980" y="4054"/>
                  </a:lnTo>
                  <a:lnTo>
                    <a:pt x="957" y="4103"/>
                  </a:lnTo>
                  <a:lnTo>
                    <a:pt x="938" y="4155"/>
                  </a:lnTo>
                  <a:lnTo>
                    <a:pt x="921" y="4209"/>
                  </a:lnTo>
                  <a:lnTo>
                    <a:pt x="906" y="4264"/>
                  </a:lnTo>
                  <a:lnTo>
                    <a:pt x="891" y="4320"/>
                  </a:lnTo>
                  <a:lnTo>
                    <a:pt x="0" y="4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6" name="Freeform 11" title="left scallop inline"/>
            <p:cNvSpPr/>
            <p:nvPr/>
          </p:nvSpPr>
          <p:spPr bwMode="auto">
            <a:xfrm>
              <a:off x="874382" y="0"/>
              <a:ext cx="1646238" cy="6858000"/>
            </a:xfrm>
            <a:custGeom>
              <a:avLst/>
              <a:gdLst/>
              <a:ahLst/>
              <a:cxnLst/>
              <a:rect l="0" t="0" r="r" b="b"/>
              <a:pathLst>
                <a:path w="1037" h="4320">
                  <a:moveTo>
                    <a:pt x="0" y="0"/>
                  </a:moveTo>
                  <a:lnTo>
                    <a:pt x="171" y="0"/>
                  </a:lnTo>
                  <a:lnTo>
                    <a:pt x="188" y="55"/>
                  </a:lnTo>
                  <a:lnTo>
                    <a:pt x="204" y="110"/>
                  </a:lnTo>
                  <a:lnTo>
                    <a:pt x="220" y="166"/>
                  </a:lnTo>
                  <a:lnTo>
                    <a:pt x="234" y="223"/>
                  </a:lnTo>
                  <a:lnTo>
                    <a:pt x="251" y="278"/>
                  </a:lnTo>
                  <a:lnTo>
                    <a:pt x="269" y="331"/>
                  </a:lnTo>
                  <a:lnTo>
                    <a:pt x="292" y="381"/>
                  </a:lnTo>
                  <a:lnTo>
                    <a:pt x="319" y="427"/>
                  </a:lnTo>
                  <a:lnTo>
                    <a:pt x="349" y="466"/>
                  </a:lnTo>
                  <a:lnTo>
                    <a:pt x="382" y="503"/>
                  </a:lnTo>
                  <a:lnTo>
                    <a:pt x="420" y="537"/>
                  </a:lnTo>
                  <a:lnTo>
                    <a:pt x="460" y="571"/>
                  </a:lnTo>
                  <a:lnTo>
                    <a:pt x="502" y="603"/>
                  </a:lnTo>
                  <a:lnTo>
                    <a:pt x="544" y="635"/>
                  </a:lnTo>
                  <a:lnTo>
                    <a:pt x="587" y="668"/>
                  </a:lnTo>
                  <a:lnTo>
                    <a:pt x="628" y="700"/>
                  </a:lnTo>
                  <a:lnTo>
                    <a:pt x="667" y="734"/>
                  </a:lnTo>
                  <a:lnTo>
                    <a:pt x="703" y="771"/>
                  </a:lnTo>
                  <a:lnTo>
                    <a:pt x="736" y="808"/>
                  </a:lnTo>
                  <a:lnTo>
                    <a:pt x="763" y="848"/>
                  </a:lnTo>
                  <a:lnTo>
                    <a:pt x="786" y="893"/>
                  </a:lnTo>
                  <a:lnTo>
                    <a:pt x="800" y="937"/>
                  </a:lnTo>
                  <a:lnTo>
                    <a:pt x="809" y="986"/>
                  </a:lnTo>
                  <a:lnTo>
                    <a:pt x="813" y="1034"/>
                  </a:lnTo>
                  <a:lnTo>
                    <a:pt x="812" y="1085"/>
                  </a:lnTo>
                  <a:lnTo>
                    <a:pt x="808" y="1136"/>
                  </a:lnTo>
                  <a:lnTo>
                    <a:pt x="803" y="1189"/>
                  </a:lnTo>
                  <a:lnTo>
                    <a:pt x="796" y="1242"/>
                  </a:lnTo>
                  <a:lnTo>
                    <a:pt x="788" y="1295"/>
                  </a:lnTo>
                  <a:lnTo>
                    <a:pt x="782" y="1348"/>
                  </a:lnTo>
                  <a:lnTo>
                    <a:pt x="778" y="1401"/>
                  </a:lnTo>
                  <a:lnTo>
                    <a:pt x="775" y="1452"/>
                  </a:lnTo>
                  <a:lnTo>
                    <a:pt x="778" y="1502"/>
                  </a:lnTo>
                  <a:lnTo>
                    <a:pt x="784" y="1551"/>
                  </a:lnTo>
                  <a:lnTo>
                    <a:pt x="797" y="1602"/>
                  </a:lnTo>
                  <a:lnTo>
                    <a:pt x="817" y="1652"/>
                  </a:lnTo>
                  <a:lnTo>
                    <a:pt x="841" y="1702"/>
                  </a:lnTo>
                  <a:lnTo>
                    <a:pt x="868" y="1752"/>
                  </a:lnTo>
                  <a:lnTo>
                    <a:pt x="896" y="1801"/>
                  </a:lnTo>
                  <a:lnTo>
                    <a:pt x="926" y="1851"/>
                  </a:lnTo>
                  <a:lnTo>
                    <a:pt x="953" y="1901"/>
                  </a:lnTo>
                  <a:lnTo>
                    <a:pt x="980" y="1952"/>
                  </a:lnTo>
                  <a:lnTo>
                    <a:pt x="1003" y="2003"/>
                  </a:lnTo>
                  <a:lnTo>
                    <a:pt x="1021" y="2054"/>
                  </a:lnTo>
                  <a:lnTo>
                    <a:pt x="1031" y="2106"/>
                  </a:lnTo>
                  <a:lnTo>
                    <a:pt x="1037" y="2160"/>
                  </a:lnTo>
                  <a:lnTo>
                    <a:pt x="1031" y="2214"/>
                  </a:lnTo>
                  <a:lnTo>
                    <a:pt x="1021" y="2266"/>
                  </a:lnTo>
                  <a:lnTo>
                    <a:pt x="1003" y="2317"/>
                  </a:lnTo>
                  <a:lnTo>
                    <a:pt x="980" y="2368"/>
                  </a:lnTo>
                  <a:lnTo>
                    <a:pt x="953" y="2419"/>
                  </a:lnTo>
                  <a:lnTo>
                    <a:pt x="926" y="2469"/>
                  </a:lnTo>
                  <a:lnTo>
                    <a:pt x="896" y="2519"/>
                  </a:lnTo>
                  <a:lnTo>
                    <a:pt x="868" y="2568"/>
                  </a:lnTo>
                  <a:lnTo>
                    <a:pt x="841" y="2618"/>
                  </a:lnTo>
                  <a:lnTo>
                    <a:pt x="817" y="2668"/>
                  </a:lnTo>
                  <a:lnTo>
                    <a:pt x="797" y="2718"/>
                  </a:lnTo>
                  <a:lnTo>
                    <a:pt x="784" y="2769"/>
                  </a:lnTo>
                  <a:lnTo>
                    <a:pt x="778" y="2818"/>
                  </a:lnTo>
                  <a:lnTo>
                    <a:pt x="775" y="2868"/>
                  </a:lnTo>
                  <a:lnTo>
                    <a:pt x="778" y="2919"/>
                  </a:lnTo>
                  <a:lnTo>
                    <a:pt x="782" y="2972"/>
                  </a:lnTo>
                  <a:lnTo>
                    <a:pt x="788" y="3025"/>
                  </a:lnTo>
                  <a:lnTo>
                    <a:pt x="796" y="3078"/>
                  </a:lnTo>
                  <a:lnTo>
                    <a:pt x="803" y="3131"/>
                  </a:lnTo>
                  <a:lnTo>
                    <a:pt x="808" y="3184"/>
                  </a:lnTo>
                  <a:lnTo>
                    <a:pt x="812" y="3235"/>
                  </a:lnTo>
                  <a:lnTo>
                    <a:pt x="813" y="3286"/>
                  </a:lnTo>
                  <a:lnTo>
                    <a:pt x="809" y="3334"/>
                  </a:lnTo>
                  <a:lnTo>
                    <a:pt x="800" y="3383"/>
                  </a:lnTo>
                  <a:lnTo>
                    <a:pt x="786" y="3427"/>
                  </a:lnTo>
                  <a:lnTo>
                    <a:pt x="763" y="3472"/>
                  </a:lnTo>
                  <a:lnTo>
                    <a:pt x="736" y="3512"/>
                  </a:lnTo>
                  <a:lnTo>
                    <a:pt x="703" y="3549"/>
                  </a:lnTo>
                  <a:lnTo>
                    <a:pt x="667" y="3586"/>
                  </a:lnTo>
                  <a:lnTo>
                    <a:pt x="628" y="3620"/>
                  </a:lnTo>
                  <a:lnTo>
                    <a:pt x="587" y="3652"/>
                  </a:lnTo>
                  <a:lnTo>
                    <a:pt x="544" y="3685"/>
                  </a:lnTo>
                  <a:lnTo>
                    <a:pt x="502" y="3717"/>
                  </a:lnTo>
                  <a:lnTo>
                    <a:pt x="460" y="3749"/>
                  </a:lnTo>
                  <a:lnTo>
                    <a:pt x="420" y="3783"/>
                  </a:lnTo>
                  <a:lnTo>
                    <a:pt x="382" y="3817"/>
                  </a:lnTo>
                  <a:lnTo>
                    <a:pt x="349" y="3854"/>
                  </a:lnTo>
                  <a:lnTo>
                    <a:pt x="319" y="3893"/>
                  </a:lnTo>
                  <a:lnTo>
                    <a:pt x="292" y="3939"/>
                  </a:lnTo>
                  <a:lnTo>
                    <a:pt x="269" y="3989"/>
                  </a:lnTo>
                  <a:lnTo>
                    <a:pt x="251" y="4042"/>
                  </a:lnTo>
                  <a:lnTo>
                    <a:pt x="234" y="4097"/>
                  </a:lnTo>
                  <a:lnTo>
                    <a:pt x="220" y="4154"/>
                  </a:lnTo>
                  <a:lnTo>
                    <a:pt x="204" y="4210"/>
                  </a:lnTo>
                  <a:lnTo>
                    <a:pt x="188" y="4265"/>
                  </a:lnTo>
                  <a:lnTo>
                    <a:pt x="171" y="4320"/>
                  </a:lnTo>
                  <a:lnTo>
                    <a:pt x="0" y="4320"/>
                  </a:lnTo>
                  <a:lnTo>
                    <a:pt x="17" y="4278"/>
                  </a:lnTo>
                  <a:lnTo>
                    <a:pt x="33" y="4232"/>
                  </a:lnTo>
                  <a:lnTo>
                    <a:pt x="46" y="4183"/>
                  </a:lnTo>
                  <a:lnTo>
                    <a:pt x="60" y="4131"/>
                  </a:lnTo>
                  <a:lnTo>
                    <a:pt x="75" y="4075"/>
                  </a:lnTo>
                  <a:lnTo>
                    <a:pt x="90" y="4019"/>
                  </a:lnTo>
                  <a:lnTo>
                    <a:pt x="109" y="3964"/>
                  </a:lnTo>
                  <a:lnTo>
                    <a:pt x="129" y="3909"/>
                  </a:lnTo>
                  <a:lnTo>
                    <a:pt x="156" y="3855"/>
                  </a:lnTo>
                  <a:lnTo>
                    <a:pt x="186" y="3804"/>
                  </a:lnTo>
                  <a:lnTo>
                    <a:pt x="222" y="3756"/>
                  </a:lnTo>
                  <a:lnTo>
                    <a:pt x="261" y="3713"/>
                  </a:lnTo>
                  <a:lnTo>
                    <a:pt x="303" y="3672"/>
                  </a:lnTo>
                  <a:lnTo>
                    <a:pt x="348" y="3634"/>
                  </a:lnTo>
                  <a:lnTo>
                    <a:pt x="392" y="3599"/>
                  </a:lnTo>
                  <a:lnTo>
                    <a:pt x="438" y="3565"/>
                  </a:lnTo>
                  <a:lnTo>
                    <a:pt x="482" y="3531"/>
                  </a:lnTo>
                  <a:lnTo>
                    <a:pt x="523" y="3499"/>
                  </a:lnTo>
                  <a:lnTo>
                    <a:pt x="561" y="3466"/>
                  </a:lnTo>
                  <a:lnTo>
                    <a:pt x="594" y="3434"/>
                  </a:lnTo>
                  <a:lnTo>
                    <a:pt x="620" y="3400"/>
                  </a:lnTo>
                  <a:lnTo>
                    <a:pt x="638" y="3367"/>
                  </a:lnTo>
                  <a:lnTo>
                    <a:pt x="647" y="3336"/>
                  </a:lnTo>
                  <a:lnTo>
                    <a:pt x="652" y="3302"/>
                  </a:lnTo>
                  <a:lnTo>
                    <a:pt x="654" y="3265"/>
                  </a:lnTo>
                  <a:lnTo>
                    <a:pt x="651" y="3224"/>
                  </a:lnTo>
                  <a:lnTo>
                    <a:pt x="647" y="3181"/>
                  </a:lnTo>
                  <a:lnTo>
                    <a:pt x="642" y="3137"/>
                  </a:lnTo>
                  <a:lnTo>
                    <a:pt x="637" y="3091"/>
                  </a:lnTo>
                  <a:lnTo>
                    <a:pt x="626" y="3021"/>
                  </a:lnTo>
                  <a:lnTo>
                    <a:pt x="620" y="2952"/>
                  </a:lnTo>
                  <a:lnTo>
                    <a:pt x="616" y="2881"/>
                  </a:lnTo>
                  <a:lnTo>
                    <a:pt x="618" y="2809"/>
                  </a:lnTo>
                  <a:lnTo>
                    <a:pt x="628" y="2737"/>
                  </a:lnTo>
                  <a:lnTo>
                    <a:pt x="642" y="2681"/>
                  </a:lnTo>
                  <a:lnTo>
                    <a:pt x="661" y="2626"/>
                  </a:lnTo>
                  <a:lnTo>
                    <a:pt x="685" y="2574"/>
                  </a:lnTo>
                  <a:lnTo>
                    <a:pt x="711" y="2521"/>
                  </a:lnTo>
                  <a:lnTo>
                    <a:pt x="739" y="2472"/>
                  </a:lnTo>
                  <a:lnTo>
                    <a:pt x="767" y="2423"/>
                  </a:lnTo>
                  <a:lnTo>
                    <a:pt x="791" y="2381"/>
                  </a:lnTo>
                  <a:lnTo>
                    <a:pt x="813" y="2342"/>
                  </a:lnTo>
                  <a:lnTo>
                    <a:pt x="834" y="2303"/>
                  </a:lnTo>
                  <a:lnTo>
                    <a:pt x="851" y="2265"/>
                  </a:lnTo>
                  <a:lnTo>
                    <a:pt x="864" y="2228"/>
                  </a:lnTo>
                  <a:lnTo>
                    <a:pt x="873" y="2194"/>
                  </a:lnTo>
                  <a:lnTo>
                    <a:pt x="876" y="2160"/>
                  </a:lnTo>
                  <a:lnTo>
                    <a:pt x="873" y="2126"/>
                  </a:lnTo>
                  <a:lnTo>
                    <a:pt x="864" y="2092"/>
                  </a:lnTo>
                  <a:lnTo>
                    <a:pt x="851" y="2055"/>
                  </a:lnTo>
                  <a:lnTo>
                    <a:pt x="834" y="2017"/>
                  </a:lnTo>
                  <a:lnTo>
                    <a:pt x="813" y="1978"/>
                  </a:lnTo>
                  <a:lnTo>
                    <a:pt x="791" y="1939"/>
                  </a:lnTo>
                  <a:lnTo>
                    <a:pt x="767" y="1897"/>
                  </a:lnTo>
                  <a:lnTo>
                    <a:pt x="739" y="1848"/>
                  </a:lnTo>
                  <a:lnTo>
                    <a:pt x="711" y="1799"/>
                  </a:lnTo>
                  <a:lnTo>
                    <a:pt x="685" y="1746"/>
                  </a:lnTo>
                  <a:lnTo>
                    <a:pt x="661" y="1694"/>
                  </a:lnTo>
                  <a:lnTo>
                    <a:pt x="642" y="1639"/>
                  </a:lnTo>
                  <a:lnTo>
                    <a:pt x="628" y="1583"/>
                  </a:lnTo>
                  <a:lnTo>
                    <a:pt x="618" y="1511"/>
                  </a:lnTo>
                  <a:lnTo>
                    <a:pt x="616" y="1439"/>
                  </a:lnTo>
                  <a:lnTo>
                    <a:pt x="620" y="1368"/>
                  </a:lnTo>
                  <a:lnTo>
                    <a:pt x="626" y="1299"/>
                  </a:lnTo>
                  <a:lnTo>
                    <a:pt x="637" y="1229"/>
                  </a:lnTo>
                  <a:lnTo>
                    <a:pt x="642" y="1183"/>
                  </a:lnTo>
                  <a:lnTo>
                    <a:pt x="647" y="1139"/>
                  </a:lnTo>
                  <a:lnTo>
                    <a:pt x="651" y="1096"/>
                  </a:lnTo>
                  <a:lnTo>
                    <a:pt x="654" y="1055"/>
                  </a:lnTo>
                  <a:lnTo>
                    <a:pt x="652" y="1018"/>
                  </a:lnTo>
                  <a:lnTo>
                    <a:pt x="647" y="984"/>
                  </a:lnTo>
                  <a:lnTo>
                    <a:pt x="638" y="953"/>
                  </a:lnTo>
                  <a:lnTo>
                    <a:pt x="620" y="920"/>
                  </a:lnTo>
                  <a:lnTo>
                    <a:pt x="594" y="886"/>
                  </a:lnTo>
                  <a:lnTo>
                    <a:pt x="561" y="854"/>
                  </a:lnTo>
                  <a:lnTo>
                    <a:pt x="523" y="822"/>
                  </a:lnTo>
                  <a:lnTo>
                    <a:pt x="482" y="789"/>
                  </a:lnTo>
                  <a:lnTo>
                    <a:pt x="438" y="755"/>
                  </a:lnTo>
                  <a:lnTo>
                    <a:pt x="392" y="721"/>
                  </a:lnTo>
                  <a:lnTo>
                    <a:pt x="348" y="686"/>
                  </a:lnTo>
                  <a:lnTo>
                    <a:pt x="303" y="648"/>
                  </a:lnTo>
                  <a:lnTo>
                    <a:pt x="261" y="607"/>
                  </a:lnTo>
                  <a:lnTo>
                    <a:pt x="222" y="564"/>
                  </a:lnTo>
                  <a:lnTo>
                    <a:pt x="186" y="516"/>
                  </a:lnTo>
                  <a:lnTo>
                    <a:pt x="156" y="465"/>
                  </a:lnTo>
                  <a:lnTo>
                    <a:pt x="129" y="411"/>
                  </a:lnTo>
                  <a:lnTo>
                    <a:pt x="109" y="356"/>
                  </a:lnTo>
                  <a:lnTo>
                    <a:pt x="90" y="301"/>
                  </a:lnTo>
                  <a:lnTo>
                    <a:pt x="75" y="245"/>
                  </a:lnTo>
                  <a:lnTo>
                    <a:pt x="60" y="189"/>
                  </a:lnTo>
                  <a:lnTo>
                    <a:pt x="46" y="137"/>
                  </a:lnTo>
                  <a:lnTo>
                    <a:pt x="33" y="88"/>
                  </a:lnTo>
                  <a:lnTo>
                    <a:pt x="17" y="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  <p:extLst>
      <p:ext uri="{BB962C8B-B14F-4D97-AF65-F5344CB8AC3E}">
        <p14:creationId xmlns:p14="http://schemas.microsoft.com/office/powerpoint/2010/main" val="697407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47796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440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2728" y="381000"/>
            <a:ext cx="10172700" cy="14935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7300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33864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33864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397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8308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9940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4" y="457199"/>
            <a:ext cx="3092115" cy="1196671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cap="all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5051" y="920377"/>
            <a:ext cx="6158418" cy="49851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5" y="1741336"/>
            <a:ext cx="3092115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051" y="6375679"/>
            <a:ext cx="1233355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0" y="6375679"/>
            <a:ext cx="3482179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91014" y="6375679"/>
            <a:ext cx="1232456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Rectangle 7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568681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7173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83464" y="0"/>
            <a:ext cx="7355585" cy="685799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12" name="Rectangle 11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3" y="457200"/>
            <a:ext cx="3092117" cy="119667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3" y="1741336"/>
            <a:ext cx="3092117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950" y="6375679"/>
            <a:ext cx="1232456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1" y="6375679"/>
            <a:ext cx="3482178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87568" y="6375679"/>
            <a:ext cx="1234440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6260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04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066321" y="382386"/>
            <a:ext cx="1492132" cy="560040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382385"/>
            <a:ext cx="8392585" cy="560040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5372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2929" y="1073888"/>
            <a:ext cx="8187071" cy="4064627"/>
          </a:xfrm>
        </p:spPr>
        <p:txBody>
          <a:bodyPr anchor="b">
            <a:normAutofit/>
          </a:bodyPr>
          <a:lstStyle>
            <a:lvl1pPr>
              <a:defRPr sz="8400" spc="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2930" y="5159781"/>
            <a:ext cx="7017488" cy="9511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 cap="all" spc="4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6546" y="6375679"/>
            <a:ext cx="1493947" cy="34846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FFFF"/>
                </a:solidFill>
              </a:rPr>
              <a:pPr/>
              <a:t>3/15/202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279064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42434" y="6375679"/>
            <a:ext cx="1487566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" title="left scallop shape"/>
          <p:cNvGrpSpPr/>
          <p:nvPr/>
        </p:nvGrpSpPr>
        <p:grpSpPr>
          <a:xfrm>
            <a:off x="0" y="0"/>
            <a:ext cx="2814638" cy="6858000"/>
            <a:chOff x="0" y="0"/>
            <a:chExt cx="2814638" cy="6858000"/>
          </a:xfrm>
        </p:grpSpPr>
        <p:sp>
          <p:nvSpPr>
            <p:cNvPr id="11" name="Freeform 6" title="left scallop shape"/>
            <p:cNvSpPr/>
            <p:nvPr/>
          </p:nvSpPr>
          <p:spPr bwMode="auto">
            <a:xfrm>
              <a:off x="0" y="0"/>
              <a:ext cx="2814638" cy="6858000"/>
            </a:xfrm>
            <a:custGeom>
              <a:avLst/>
              <a:gdLst/>
              <a:ahLst/>
              <a:cxnLst/>
              <a:rect l="0" t="0" r="r" b="b"/>
              <a:pathLst>
                <a:path w="1773" h="4320">
                  <a:moveTo>
                    <a:pt x="0" y="0"/>
                  </a:moveTo>
                  <a:lnTo>
                    <a:pt x="891" y="0"/>
                  </a:lnTo>
                  <a:lnTo>
                    <a:pt x="906" y="56"/>
                  </a:lnTo>
                  <a:lnTo>
                    <a:pt x="921" y="111"/>
                  </a:lnTo>
                  <a:lnTo>
                    <a:pt x="938" y="165"/>
                  </a:lnTo>
                  <a:lnTo>
                    <a:pt x="957" y="217"/>
                  </a:lnTo>
                  <a:lnTo>
                    <a:pt x="980" y="266"/>
                  </a:lnTo>
                  <a:lnTo>
                    <a:pt x="1007" y="312"/>
                  </a:lnTo>
                  <a:lnTo>
                    <a:pt x="1036" y="351"/>
                  </a:lnTo>
                  <a:lnTo>
                    <a:pt x="1069" y="387"/>
                  </a:lnTo>
                  <a:lnTo>
                    <a:pt x="1105" y="422"/>
                  </a:lnTo>
                  <a:lnTo>
                    <a:pt x="1145" y="456"/>
                  </a:lnTo>
                  <a:lnTo>
                    <a:pt x="1185" y="487"/>
                  </a:lnTo>
                  <a:lnTo>
                    <a:pt x="1227" y="520"/>
                  </a:lnTo>
                  <a:lnTo>
                    <a:pt x="1270" y="551"/>
                  </a:lnTo>
                  <a:lnTo>
                    <a:pt x="1311" y="584"/>
                  </a:lnTo>
                  <a:lnTo>
                    <a:pt x="1352" y="617"/>
                  </a:lnTo>
                  <a:lnTo>
                    <a:pt x="1390" y="651"/>
                  </a:lnTo>
                  <a:lnTo>
                    <a:pt x="1425" y="687"/>
                  </a:lnTo>
                  <a:lnTo>
                    <a:pt x="1456" y="725"/>
                  </a:lnTo>
                  <a:lnTo>
                    <a:pt x="1484" y="765"/>
                  </a:lnTo>
                  <a:lnTo>
                    <a:pt x="1505" y="808"/>
                  </a:lnTo>
                  <a:lnTo>
                    <a:pt x="1521" y="856"/>
                  </a:lnTo>
                  <a:lnTo>
                    <a:pt x="1530" y="907"/>
                  </a:lnTo>
                  <a:lnTo>
                    <a:pt x="1534" y="960"/>
                  </a:lnTo>
                  <a:lnTo>
                    <a:pt x="1534" y="1013"/>
                  </a:lnTo>
                  <a:lnTo>
                    <a:pt x="1530" y="1068"/>
                  </a:lnTo>
                  <a:lnTo>
                    <a:pt x="1523" y="1125"/>
                  </a:lnTo>
                  <a:lnTo>
                    <a:pt x="1515" y="1181"/>
                  </a:lnTo>
                  <a:lnTo>
                    <a:pt x="1508" y="1237"/>
                  </a:lnTo>
                  <a:lnTo>
                    <a:pt x="1501" y="1293"/>
                  </a:lnTo>
                  <a:lnTo>
                    <a:pt x="1496" y="1350"/>
                  </a:lnTo>
                  <a:lnTo>
                    <a:pt x="1494" y="1405"/>
                  </a:lnTo>
                  <a:lnTo>
                    <a:pt x="1497" y="1458"/>
                  </a:lnTo>
                  <a:lnTo>
                    <a:pt x="1504" y="1511"/>
                  </a:lnTo>
                  <a:lnTo>
                    <a:pt x="1517" y="1560"/>
                  </a:lnTo>
                  <a:lnTo>
                    <a:pt x="1535" y="1610"/>
                  </a:lnTo>
                  <a:lnTo>
                    <a:pt x="1557" y="1659"/>
                  </a:lnTo>
                  <a:lnTo>
                    <a:pt x="1583" y="1708"/>
                  </a:lnTo>
                  <a:lnTo>
                    <a:pt x="1611" y="1757"/>
                  </a:lnTo>
                  <a:lnTo>
                    <a:pt x="1640" y="1807"/>
                  </a:lnTo>
                  <a:lnTo>
                    <a:pt x="1669" y="1855"/>
                  </a:lnTo>
                  <a:lnTo>
                    <a:pt x="1696" y="1905"/>
                  </a:lnTo>
                  <a:lnTo>
                    <a:pt x="1721" y="1954"/>
                  </a:lnTo>
                  <a:lnTo>
                    <a:pt x="1742" y="2006"/>
                  </a:lnTo>
                  <a:lnTo>
                    <a:pt x="1759" y="2057"/>
                  </a:lnTo>
                  <a:lnTo>
                    <a:pt x="1769" y="2108"/>
                  </a:lnTo>
                  <a:lnTo>
                    <a:pt x="1773" y="2160"/>
                  </a:lnTo>
                  <a:lnTo>
                    <a:pt x="1769" y="2212"/>
                  </a:lnTo>
                  <a:lnTo>
                    <a:pt x="1759" y="2263"/>
                  </a:lnTo>
                  <a:lnTo>
                    <a:pt x="1742" y="2314"/>
                  </a:lnTo>
                  <a:lnTo>
                    <a:pt x="1721" y="2366"/>
                  </a:lnTo>
                  <a:lnTo>
                    <a:pt x="1696" y="2415"/>
                  </a:lnTo>
                  <a:lnTo>
                    <a:pt x="1669" y="2465"/>
                  </a:lnTo>
                  <a:lnTo>
                    <a:pt x="1640" y="2513"/>
                  </a:lnTo>
                  <a:lnTo>
                    <a:pt x="1611" y="2563"/>
                  </a:lnTo>
                  <a:lnTo>
                    <a:pt x="1583" y="2612"/>
                  </a:lnTo>
                  <a:lnTo>
                    <a:pt x="1557" y="2661"/>
                  </a:lnTo>
                  <a:lnTo>
                    <a:pt x="1535" y="2710"/>
                  </a:lnTo>
                  <a:lnTo>
                    <a:pt x="1517" y="2760"/>
                  </a:lnTo>
                  <a:lnTo>
                    <a:pt x="1504" y="2809"/>
                  </a:lnTo>
                  <a:lnTo>
                    <a:pt x="1497" y="2862"/>
                  </a:lnTo>
                  <a:lnTo>
                    <a:pt x="1494" y="2915"/>
                  </a:lnTo>
                  <a:lnTo>
                    <a:pt x="1496" y="2970"/>
                  </a:lnTo>
                  <a:lnTo>
                    <a:pt x="1501" y="3027"/>
                  </a:lnTo>
                  <a:lnTo>
                    <a:pt x="1508" y="3083"/>
                  </a:lnTo>
                  <a:lnTo>
                    <a:pt x="1515" y="3139"/>
                  </a:lnTo>
                  <a:lnTo>
                    <a:pt x="1523" y="3195"/>
                  </a:lnTo>
                  <a:lnTo>
                    <a:pt x="1530" y="3252"/>
                  </a:lnTo>
                  <a:lnTo>
                    <a:pt x="1534" y="3307"/>
                  </a:lnTo>
                  <a:lnTo>
                    <a:pt x="1534" y="3360"/>
                  </a:lnTo>
                  <a:lnTo>
                    <a:pt x="1530" y="3413"/>
                  </a:lnTo>
                  <a:lnTo>
                    <a:pt x="1521" y="3464"/>
                  </a:lnTo>
                  <a:lnTo>
                    <a:pt x="1505" y="3512"/>
                  </a:lnTo>
                  <a:lnTo>
                    <a:pt x="1484" y="3555"/>
                  </a:lnTo>
                  <a:lnTo>
                    <a:pt x="1456" y="3595"/>
                  </a:lnTo>
                  <a:lnTo>
                    <a:pt x="1425" y="3633"/>
                  </a:lnTo>
                  <a:lnTo>
                    <a:pt x="1390" y="3669"/>
                  </a:lnTo>
                  <a:lnTo>
                    <a:pt x="1352" y="3703"/>
                  </a:lnTo>
                  <a:lnTo>
                    <a:pt x="1311" y="3736"/>
                  </a:lnTo>
                  <a:lnTo>
                    <a:pt x="1270" y="3769"/>
                  </a:lnTo>
                  <a:lnTo>
                    <a:pt x="1227" y="3800"/>
                  </a:lnTo>
                  <a:lnTo>
                    <a:pt x="1185" y="3833"/>
                  </a:lnTo>
                  <a:lnTo>
                    <a:pt x="1145" y="3864"/>
                  </a:lnTo>
                  <a:lnTo>
                    <a:pt x="1105" y="3898"/>
                  </a:lnTo>
                  <a:lnTo>
                    <a:pt x="1069" y="3933"/>
                  </a:lnTo>
                  <a:lnTo>
                    <a:pt x="1036" y="3969"/>
                  </a:lnTo>
                  <a:lnTo>
                    <a:pt x="1007" y="4008"/>
                  </a:lnTo>
                  <a:lnTo>
                    <a:pt x="980" y="4054"/>
                  </a:lnTo>
                  <a:lnTo>
                    <a:pt x="957" y="4103"/>
                  </a:lnTo>
                  <a:lnTo>
                    <a:pt x="938" y="4155"/>
                  </a:lnTo>
                  <a:lnTo>
                    <a:pt x="921" y="4209"/>
                  </a:lnTo>
                  <a:lnTo>
                    <a:pt x="906" y="4264"/>
                  </a:lnTo>
                  <a:lnTo>
                    <a:pt x="891" y="4320"/>
                  </a:lnTo>
                  <a:lnTo>
                    <a:pt x="0" y="4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6" name="Freeform 11" title="left scallop inline"/>
            <p:cNvSpPr/>
            <p:nvPr/>
          </p:nvSpPr>
          <p:spPr bwMode="auto">
            <a:xfrm>
              <a:off x="874382" y="0"/>
              <a:ext cx="1646238" cy="6858000"/>
            </a:xfrm>
            <a:custGeom>
              <a:avLst/>
              <a:gdLst/>
              <a:ahLst/>
              <a:cxnLst/>
              <a:rect l="0" t="0" r="r" b="b"/>
              <a:pathLst>
                <a:path w="1037" h="4320">
                  <a:moveTo>
                    <a:pt x="0" y="0"/>
                  </a:moveTo>
                  <a:lnTo>
                    <a:pt x="171" y="0"/>
                  </a:lnTo>
                  <a:lnTo>
                    <a:pt x="188" y="55"/>
                  </a:lnTo>
                  <a:lnTo>
                    <a:pt x="204" y="110"/>
                  </a:lnTo>
                  <a:lnTo>
                    <a:pt x="220" y="166"/>
                  </a:lnTo>
                  <a:lnTo>
                    <a:pt x="234" y="223"/>
                  </a:lnTo>
                  <a:lnTo>
                    <a:pt x="251" y="278"/>
                  </a:lnTo>
                  <a:lnTo>
                    <a:pt x="269" y="331"/>
                  </a:lnTo>
                  <a:lnTo>
                    <a:pt x="292" y="381"/>
                  </a:lnTo>
                  <a:lnTo>
                    <a:pt x="319" y="427"/>
                  </a:lnTo>
                  <a:lnTo>
                    <a:pt x="349" y="466"/>
                  </a:lnTo>
                  <a:lnTo>
                    <a:pt x="382" y="503"/>
                  </a:lnTo>
                  <a:lnTo>
                    <a:pt x="420" y="537"/>
                  </a:lnTo>
                  <a:lnTo>
                    <a:pt x="460" y="571"/>
                  </a:lnTo>
                  <a:lnTo>
                    <a:pt x="502" y="603"/>
                  </a:lnTo>
                  <a:lnTo>
                    <a:pt x="544" y="635"/>
                  </a:lnTo>
                  <a:lnTo>
                    <a:pt x="587" y="668"/>
                  </a:lnTo>
                  <a:lnTo>
                    <a:pt x="628" y="700"/>
                  </a:lnTo>
                  <a:lnTo>
                    <a:pt x="667" y="734"/>
                  </a:lnTo>
                  <a:lnTo>
                    <a:pt x="703" y="771"/>
                  </a:lnTo>
                  <a:lnTo>
                    <a:pt x="736" y="808"/>
                  </a:lnTo>
                  <a:lnTo>
                    <a:pt x="763" y="848"/>
                  </a:lnTo>
                  <a:lnTo>
                    <a:pt x="786" y="893"/>
                  </a:lnTo>
                  <a:lnTo>
                    <a:pt x="800" y="937"/>
                  </a:lnTo>
                  <a:lnTo>
                    <a:pt x="809" y="986"/>
                  </a:lnTo>
                  <a:lnTo>
                    <a:pt x="813" y="1034"/>
                  </a:lnTo>
                  <a:lnTo>
                    <a:pt x="812" y="1085"/>
                  </a:lnTo>
                  <a:lnTo>
                    <a:pt x="808" y="1136"/>
                  </a:lnTo>
                  <a:lnTo>
                    <a:pt x="803" y="1189"/>
                  </a:lnTo>
                  <a:lnTo>
                    <a:pt x="796" y="1242"/>
                  </a:lnTo>
                  <a:lnTo>
                    <a:pt x="788" y="1295"/>
                  </a:lnTo>
                  <a:lnTo>
                    <a:pt x="782" y="1348"/>
                  </a:lnTo>
                  <a:lnTo>
                    <a:pt x="778" y="1401"/>
                  </a:lnTo>
                  <a:lnTo>
                    <a:pt x="775" y="1452"/>
                  </a:lnTo>
                  <a:lnTo>
                    <a:pt x="778" y="1502"/>
                  </a:lnTo>
                  <a:lnTo>
                    <a:pt x="784" y="1551"/>
                  </a:lnTo>
                  <a:lnTo>
                    <a:pt x="797" y="1602"/>
                  </a:lnTo>
                  <a:lnTo>
                    <a:pt x="817" y="1652"/>
                  </a:lnTo>
                  <a:lnTo>
                    <a:pt x="841" y="1702"/>
                  </a:lnTo>
                  <a:lnTo>
                    <a:pt x="868" y="1752"/>
                  </a:lnTo>
                  <a:lnTo>
                    <a:pt x="896" y="1801"/>
                  </a:lnTo>
                  <a:lnTo>
                    <a:pt x="926" y="1851"/>
                  </a:lnTo>
                  <a:lnTo>
                    <a:pt x="953" y="1901"/>
                  </a:lnTo>
                  <a:lnTo>
                    <a:pt x="980" y="1952"/>
                  </a:lnTo>
                  <a:lnTo>
                    <a:pt x="1003" y="2003"/>
                  </a:lnTo>
                  <a:lnTo>
                    <a:pt x="1021" y="2054"/>
                  </a:lnTo>
                  <a:lnTo>
                    <a:pt x="1031" y="2106"/>
                  </a:lnTo>
                  <a:lnTo>
                    <a:pt x="1037" y="2160"/>
                  </a:lnTo>
                  <a:lnTo>
                    <a:pt x="1031" y="2214"/>
                  </a:lnTo>
                  <a:lnTo>
                    <a:pt x="1021" y="2266"/>
                  </a:lnTo>
                  <a:lnTo>
                    <a:pt x="1003" y="2317"/>
                  </a:lnTo>
                  <a:lnTo>
                    <a:pt x="980" y="2368"/>
                  </a:lnTo>
                  <a:lnTo>
                    <a:pt x="953" y="2419"/>
                  </a:lnTo>
                  <a:lnTo>
                    <a:pt x="926" y="2469"/>
                  </a:lnTo>
                  <a:lnTo>
                    <a:pt x="896" y="2519"/>
                  </a:lnTo>
                  <a:lnTo>
                    <a:pt x="868" y="2568"/>
                  </a:lnTo>
                  <a:lnTo>
                    <a:pt x="841" y="2618"/>
                  </a:lnTo>
                  <a:lnTo>
                    <a:pt x="817" y="2668"/>
                  </a:lnTo>
                  <a:lnTo>
                    <a:pt x="797" y="2718"/>
                  </a:lnTo>
                  <a:lnTo>
                    <a:pt x="784" y="2769"/>
                  </a:lnTo>
                  <a:lnTo>
                    <a:pt x="778" y="2818"/>
                  </a:lnTo>
                  <a:lnTo>
                    <a:pt x="775" y="2868"/>
                  </a:lnTo>
                  <a:lnTo>
                    <a:pt x="778" y="2919"/>
                  </a:lnTo>
                  <a:lnTo>
                    <a:pt x="782" y="2972"/>
                  </a:lnTo>
                  <a:lnTo>
                    <a:pt x="788" y="3025"/>
                  </a:lnTo>
                  <a:lnTo>
                    <a:pt x="796" y="3078"/>
                  </a:lnTo>
                  <a:lnTo>
                    <a:pt x="803" y="3131"/>
                  </a:lnTo>
                  <a:lnTo>
                    <a:pt x="808" y="3184"/>
                  </a:lnTo>
                  <a:lnTo>
                    <a:pt x="812" y="3235"/>
                  </a:lnTo>
                  <a:lnTo>
                    <a:pt x="813" y="3286"/>
                  </a:lnTo>
                  <a:lnTo>
                    <a:pt x="809" y="3334"/>
                  </a:lnTo>
                  <a:lnTo>
                    <a:pt x="800" y="3383"/>
                  </a:lnTo>
                  <a:lnTo>
                    <a:pt x="786" y="3427"/>
                  </a:lnTo>
                  <a:lnTo>
                    <a:pt x="763" y="3472"/>
                  </a:lnTo>
                  <a:lnTo>
                    <a:pt x="736" y="3512"/>
                  </a:lnTo>
                  <a:lnTo>
                    <a:pt x="703" y="3549"/>
                  </a:lnTo>
                  <a:lnTo>
                    <a:pt x="667" y="3586"/>
                  </a:lnTo>
                  <a:lnTo>
                    <a:pt x="628" y="3620"/>
                  </a:lnTo>
                  <a:lnTo>
                    <a:pt x="587" y="3652"/>
                  </a:lnTo>
                  <a:lnTo>
                    <a:pt x="544" y="3685"/>
                  </a:lnTo>
                  <a:lnTo>
                    <a:pt x="502" y="3717"/>
                  </a:lnTo>
                  <a:lnTo>
                    <a:pt x="460" y="3749"/>
                  </a:lnTo>
                  <a:lnTo>
                    <a:pt x="420" y="3783"/>
                  </a:lnTo>
                  <a:lnTo>
                    <a:pt x="382" y="3817"/>
                  </a:lnTo>
                  <a:lnTo>
                    <a:pt x="349" y="3854"/>
                  </a:lnTo>
                  <a:lnTo>
                    <a:pt x="319" y="3893"/>
                  </a:lnTo>
                  <a:lnTo>
                    <a:pt x="292" y="3939"/>
                  </a:lnTo>
                  <a:lnTo>
                    <a:pt x="269" y="3989"/>
                  </a:lnTo>
                  <a:lnTo>
                    <a:pt x="251" y="4042"/>
                  </a:lnTo>
                  <a:lnTo>
                    <a:pt x="234" y="4097"/>
                  </a:lnTo>
                  <a:lnTo>
                    <a:pt x="220" y="4154"/>
                  </a:lnTo>
                  <a:lnTo>
                    <a:pt x="204" y="4210"/>
                  </a:lnTo>
                  <a:lnTo>
                    <a:pt x="188" y="4265"/>
                  </a:lnTo>
                  <a:lnTo>
                    <a:pt x="171" y="4320"/>
                  </a:lnTo>
                  <a:lnTo>
                    <a:pt x="0" y="4320"/>
                  </a:lnTo>
                  <a:lnTo>
                    <a:pt x="17" y="4278"/>
                  </a:lnTo>
                  <a:lnTo>
                    <a:pt x="33" y="4232"/>
                  </a:lnTo>
                  <a:lnTo>
                    <a:pt x="46" y="4183"/>
                  </a:lnTo>
                  <a:lnTo>
                    <a:pt x="60" y="4131"/>
                  </a:lnTo>
                  <a:lnTo>
                    <a:pt x="75" y="4075"/>
                  </a:lnTo>
                  <a:lnTo>
                    <a:pt x="90" y="4019"/>
                  </a:lnTo>
                  <a:lnTo>
                    <a:pt x="109" y="3964"/>
                  </a:lnTo>
                  <a:lnTo>
                    <a:pt x="129" y="3909"/>
                  </a:lnTo>
                  <a:lnTo>
                    <a:pt x="156" y="3855"/>
                  </a:lnTo>
                  <a:lnTo>
                    <a:pt x="186" y="3804"/>
                  </a:lnTo>
                  <a:lnTo>
                    <a:pt x="222" y="3756"/>
                  </a:lnTo>
                  <a:lnTo>
                    <a:pt x="261" y="3713"/>
                  </a:lnTo>
                  <a:lnTo>
                    <a:pt x="303" y="3672"/>
                  </a:lnTo>
                  <a:lnTo>
                    <a:pt x="348" y="3634"/>
                  </a:lnTo>
                  <a:lnTo>
                    <a:pt x="392" y="3599"/>
                  </a:lnTo>
                  <a:lnTo>
                    <a:pt x="438" y="3565"/>
                  </a:lnTo>
                  <a:lnTo>
                    <a:pt x="482" y="3531"/>
                  </a:lnTo>
                  <a:lnTo>
                    <a:pt x="523" y="3499"/>
                  </a:lnTo>
                  <a:lnTo>
                    <a:pt x="561" y="3466"/>
                  </a:lnTo>
                  <a:lnTo>
                    <a:pt x="594" y="3434"/>
                  </a:lnTo>
                  <a:lnTo>
                    <a:pt x="620" y="3400"/>
                  </a:lnTo>
                  <a:lnTo>
                    <a:pt x="638" y="3367"/>
                  </a:lnTo>
                  <a:lnTo>
                    <a:pt x="647" y="3336"/>
                  </a:lnTo>
                  <a:lnTo>
                    <a:pt x="652" y="3302"/>
                  </a:lnTo>
                  <a:lnTo>
                    <a:pt x="654" y="3265"/>
                  </a:lnTo>
                  <a:lnTo>
                    <a:pt x="651" y="3224"/>
                  </a:lnTo>
                  <a:lnTo>
                    <a:pt x="647" y="3181"/>
                  </a:lnTo>
                  <a:lnTo>
                    <a:pt x="642" y="3137"/>
                  </a:lnTo>
                  <a:lnTo>
                    <a:pt x="637" y="3091"/>
                  </a:lnTo>
                  <a:lnTo>
                    <a:pt x="626" y="3021"/>
                  </a:lnTo>
                  <a:lnTo>
                    <a:pt x="620" y="2952"/>
                  </a:lnTo>
                  <a:lnTo>
                    <a:pt x="616" y="2881"/>
                  </a:lnTo>
                  <a:lnTo>
                    <a:pt x="618" y="2809"/>
                  </a:lnTo>
                  <a:lnTo>
                    <a:pt x="628" y="2737"/>
                  </a:lnTo>
                  <a:lnTo>
                    <a:pt x="642" y="2681"/>
                  </a:lnTo>
                  <a:lnTo>
                    <a:pt x="661" y="2626"/>
                  </a:lnTo>
                  <a:lnTo>
                    <a:pt x="685" y="2574"/>
                  </a:lnTo>
                  <a:lnTo>
                    <a:pt x="711" y="2521"/>
                  </a:lnTo>
                  <a:lnTo>
                    <a:pt x="739" y="2472"/>
                  </a:lnTo>
                  <a:lnTo>
                    <a:pt x="767" y="2423"/>
                  </a:lnTo>
                  <a:lnTo>
                    <a:pt x="791" y="2381"/>
                  </a:lnTo>
                  <a:lnTo>
                    <a:pt x="813" y="2342"/>
                  </a:lnTo>
                  <a:lnTo>
                    <a:pt x="834" y="2303"/>
                  </a:lnTo>
                  <a:lnTo>
                    <a:pt x="851" y="2265"/>
                  </a:lnTo>
                  <a:lnTo>
                    <a:pt x="864" y="2228"/>
                  </a:lnTo>
                  <a:lnTo>
                    <a:pt x="873" y="2194"/>
                  </a:lnTo>
                  <a:lnTo>
                    <a:pt x="876" y="2160"/>
                  </a:lnTo>
                  <a:lnTo>
                    <a:pt x="873" y="2126"/>
                  </a:lnTo>
                  <a:lnTo>
                    <a:pt x="864" y="2092"/>
                  </a:lnTo>
                  <a:lnTo>
                    <a:pt x="851" y="2055"/>
                  </a:lnTo>
                  <a:lnTo>
                    <a:pt x="834" y="2017"/>
                  </a:lnTo>
                  <a:lnTo>
                    <a:pt x="813" y="1978"/>
                  </a:lnTo>
                  <a:lnTo>
                    <a:pt x="791" y="1939"/>
                  </a:lnTo>
                  <a:lnTo>
                    <a:pt x="767" y="1897"/>
                  </a:lnTo>
                  <a:lnTo>
                    <a:pt x="739" y="1848"/>
                  </a:lnTo>
                  <a:lnTo>
                    <a:pt x="711" y="1799"/>
                  </a:lnTo>
                  <a:lnTo>
                    <a:pt x="685" y="1746"/>
                  </a:lnTo>
                  <a:lnTo>
                    <a:pt x="661" y="1694"/>
                  </a:lnTo>
                  <a:lnTo>
                    <a:pt x="642" y="1639"/>
                  </a:lnTo>
                  <a:lnTo>
                    <a:pt x="628" y="1583"/>
                  </a:lnTo>
                  <a:lnTo>
                    <a:pt x="618" y="1511"/>
                  </a:lnTo>
                  <a:lnTo>
                    <a:pt x="616" y="1439"/>
                  </a:lnTo>
                  <a:lnTo>
                    <a:pt x="620" y="1368"/>
                  </a:lnTo>
                  <a:lnTo>
                    <a:pt x="626" y="1299"/>
                  </a:lnTo>
                  <a:lnTo>
                    <a:pt x="637" y="1229"/>
                  </a:lnTo>
                  <a:lnTo>
                    <a:pt x="642" y="1183"/>
                  </a:lnTo>
                  <a:lnTo>
                    <a:pt x="647" y="1139"/>
                  </a:lnTo>
                  <a:lnTo>
                    <a:pt x="651" y="1096"/>
                  </a:lnTo>
                  <a:lnTo>
                    <a:pt x="654" y="1055"/>
                  </a:lnTo>
                  <a:lnTo>
                    <a:pt x="652" y="1018"/>
                  </a:lnTo>
                  <a:lnTo>
                    <a:pt x="647" y="984"/>
                  </a:lnTo>
                  <a:lnTo>
                    <a:pt x="638" y="953"/>
                  </a:lnTo>
                  <a:lnTo>
                    <a:pt x="620" y="920"/>
                  </a:lnTo>
                  <a:lnTo>
                    <a:pt x="594" y="886"/>
                  </a:lnTo>
                  <a:lnTo>
                    <a:pt x="561" y="854"/>
                  </a:lnTo>
                  <a:lnTo>
                    <a:pt x="523" y="822"/>
                  </a:lnTo>
                  <a:lnTo>
                    <a:pt x="482" y="789"/>
                  </a:lnTo>
                  <a:lnTo>
                    <a:pt x="438" y="755"/>
                  </a:lnTo>
                  <a:lnTo>
                    <a:pt x="392" y="721"/>
                  </a:lnTo>
                  <a:lnTo>
                    <a:pt x="348" y="686"/>
                  </a:lnTo>
                  <a:lnTo>
                    <a:pt x="303" y="648"/>
                  </a:lnTo>
                  <a:lnTo>
                    <a:pt x="261" y="607"/>
                  </a:lnTo>
                  <a:lnTo>
                    <a:pt x="222" y="564"/>
                  </a:lnTo>
                  <a:lnTo>
                    <a:pt x="186" y="516"/>
                  </a:lnTo>
                  <a:lnTo>
                    <a:pt x="156" y="465"/>
                  </a:lnTo>
                  <a:lnTo>
                    <a:pt x="129" y="411"/>
                  </a:lnTo>
                  <a:lnTo>
                    <a:pt x="109" y="356"/>
                  </a:lnTo>
                  <a:lnTo>
                    <a:pt x="90" y="301"/>
                  </a:lnTo>
                  <a:lnTo>
                    <a:pt x="75" y="245"/>
                  </a:lnTo>
                  <a:lnTo>
                    <a:pt x="60" y="189"/>
                  </a:lnTo>
                  <a:lnTo>
                    <a:pt x="46" y="137"/>
                  </a:lnTo>
                  <a:lnTo>
                    <a:pt x="33" y="88"/>
                  </a:lnTo>
                  <a:lnTo>
                    <a:pt x="17" y="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  <p:extLst>
      <p:ext uri="{BB962C8B-B14F-4D97-AF65-F5344CB8AC3E}">
        <p14:creationId xmlns:p14="http://schemas.microsoft.com/office/powerpoint/2010/main" val="26327416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47796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725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2728" y="381000"/>
            <a:ext cx="10172700" cy="14935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7300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33864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33864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484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5355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240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4" y="457199"/>
            <a:ext cx="3092115" cy="1196671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cap="all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5051" y="920377"/>
            <a:ext cx="6158418" cy="49851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5" y="1741336"/>
            <a:ext cx="3092115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051" y="6375679"/>
            <a:ext cx="1233355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0" y="6375679"/>
            <a:ext cx="3482179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91014" y="6375679"/>
            <a:ext cx="1232456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Rectangle 7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369700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83464" y="0"/>
            <a:ext cx="7355585" cy="685799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12" name="Rectangle 11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3" y="457200"/>
            <a:ext cx="3092117" cy="119667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3" y="1741336"/>
            <a:ext cx="3092117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950" y="6375679"/>
            <a:ext cx="1232456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1" y="6375679"/>
            <a:ext cx="3482178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87568" y="6375679"/>
            <a:ext cx="1234440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1170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6573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6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14921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286001"/>
            <a:ext cx="10178322" cy="3593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1678" y="6375679"/>
            <a:ext cx="2329722" cy="3484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75679"/>
            <a:ext cx="4114800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75679"/>
            <a:ext cx="2819399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" name="Freeform 6" title="Left scallop edge"/>
          <p:cNvSpPr/>
          <p:nvPr/>
        </p:nvSpPr>
        <p:spPr bwMode="auto">
          <a:xfrm>
            <a:off x="0" y="0"/>
            <a:ext cx="885825" cy="6858000"/>
          </a:xfrm>
          <a:custGeom>
            <a:avLst/>
            <a:gdLst/>
            <a:ahLst/>
            <a:cxnLst/>
            <a:rect l="0" t="0" r="r" b="b"/>
            <a:pathLst>
              <a:path w="558" h="4320">
                <a:moveTo>
                  <a:pt x="0" y="0"/>
                </a:moveTo>
                <a:lnTo>
                  <a:pt x="447" y="0"/>
                </a:lnTo>
                <a:lnTo>
                  <a:pt x="448" y="43"/>
                </a:lnTo>
                <a:lnTo>
                  <a:pt x="453" y="81"/>
                </a:lnTo>
                <a:lnTo>
                  <a:pt x="460" y="114"/>
                </a:lnTo>
                <a:lnTo>
                  <a:pt x="469" y="143"/>
                </a:lnTo>
                <a:lnTo>
                  <a:pt x="479" y="169"/>
                </a:lnTo>
                <a:lnTo>
                  <a:pt x="491" y="192"/>
                </a:lnTo>
                <a:lnTo>
                  <a:pt x="503" y="216"/>
                </a:lnTo>
                <a:lnTo>
                  <a:pt x="515" y="240"/>
                </a:lnTo>
                <a:lnTo>
                  <a:pt x="525" y="263"/>
                </a:lnTo>
                <a:lnTo>
                  <a:pt x="535" y="289"/>
                </a:lnTo>
                <a:lnTo>
                  <a:pt x="545" y="318"/>
                </a:lnTo>
                <a:lnTo>
                  <a:pt x="552" y="351"/>
                </a:lnTo>
                <a:lnTo>
                  <a:pt x="556" y="389"/>
                </a:lnTo>
                <a:lnTo>
                  <a:pt x="558" y="432"/>
                </a:lnTo>
                <a:lnTo>
                  <a:pt x="556" y="475"/>
                </a:lnTo>
                <a:lnTo>
                  <a:pt x="552" y="513"/>
                </a:lnTo>
                <a:lnTo>
                  <a:pt x="545" y="546"/>
                </a:lnTo>
                <a:lnTo>
                  <a:pt x="535" y="575"/>
                </a:lnTo>
                <a:lnTo>
                  <a:pt x="525" y="601"/>
                </a:lnTo>
                <a:lnTo>
                  <a:pt x="515" y="624"/>
                </a:lnTo>
                <a:lnTo>
                  <a:pt x="503" y="648"/>
                </a:lnTo>
                <a:lnTo>
                  <a:pt x="491" y="672"/>
                </a:lnTo>
                <a:lnTo>
                  <a:pt x="479" y="695"/>
                </a:lnTo>
                <a:lnTo>
                  <a:pt x="469" y="721"/>
                </a:lnTo>
                <a:lnTo>
                  <a:pt x="460" y="750"/>
                </a:lnTo>
                <a:lnTo>
                  <a:pt x="453" y="783"/>
                </a:lnTo>
                <a:lnTo>
                  <a:pt x="448" y="821"/>
                </a:lnTo>
                <a:lnTo>
                  <a:pt x="447" y="864"/>
                </a:lnTo>
                <a:lnTo>
                  <a:pt x="448" y="907"/>
                </a:lnTo>
                <a:lnTo>
                  <a:pt x="453" y="945"/>
                </a:lnTo>
                <a:lnTo>
                  <a:pt x="460" y="978"/>
                </a:lnTo>
                <a:lnTo>
                  <a:pt x="469" y="1007"/>
                </a:lnTo>
                <a:lnTo>
                  <a:pt x="479" y="1033"/>
                </a:lnTo>
                <a:lnTo>
                  <a:pt x="491" y="1056"/>
                </a:lnTo>
                <a:lnTo>
                  <a:pt x="503" y="1080"/>
                </a:lnTo>
                <a:lnTo>
                  <a:pt x="515" y="1104"/>
                </a:lnTo>
                <a:lnTo>
                  <a:pt x="525" y="1127"/>
                </a:lnTo>
                <a:lnTo>
                  <a:pt x="535" y="1153"/>
                </a:lnTo>
                <a:lnTo>
                  <a:pt x="545" y="1182"/>
                </a:lnTo>
                <a:lnTo>
                  <a:pt x="552" y="1215"/>
                </a:lnTo>
                <a:lnTo>
                  <a:pt x="556" y="1253"/>
                </a:lnTo>
                <a:lnTo>
                  <a:pt x="558" y="1296"/>
                </a:lnTo>
                <a:lnTo>
                  <a:pt x="556" y="1339"/>
                </a:lnTo>
                <a:lnTo>
                  <a:pt x="552" y="1377"/>
                </a:lnTo>
                <a:lnTo>
                  <a:pt x="545" y="1410"/>
                </a:lnTo>
                <a:lnTo>
                  <a:pt x="535" y="1439"/>
                </a:lnTo>
                <a:lnTo>
                  <a:pt x="525" y="1465"/>
                </a:lnTo>
                <a:lnTo>
                  <a:pt x="515" y="1488"/>
                </a:lnTo>
                <a:lnTo>
                  <a:pt x="503" y="1512"/>
                </a:lnTo>
                <a:lnTo>
                  <a:pt x="491" y="1536"/>
                </a:lnTo>
                <a:lnTo>
                  <a:pt x="479" y="1559"/>
                </a:lnTo>
                <a:lnTo>
                  <a:pt x="469" y="1585"/>
                </a:lnTo>
                <a:lnTo>
                  <a:pt x="460" y="1614"/>
                </a:lnTo>
                <a:lnTo>
                  <a:pt x="453" y="1647"/>
                </a:lnTo>
                <a:lnTo>
                  <a:pt x="448" y="1685"/>
                </a:lnTo>
                <a:lnTo>
                  <a:pt x="447" y="1728"/>
                </a:lnTo>
                <a:lnTo>
                  <a:pt x="448" y="1771"/>
                </a:lnTo>
                <a:lnTo>
                  <a:pt x="453" y="1809"/>
                </a:lnTo>
                <a:lnTo>
                  <a:pt x="460" y="1842"/>
                </a:lnTo>
                <a:lnTo>
                  <a:pt x="469" y="1871"/>
                </a:lnTo>
                <a:lnTo>
                  <a:pt x="479" y="1897"/>
                </a:lnTo>
                <a:lnTo>
                  <a:pt x="491" y="1920"/>
                </a:lnTo>
                <a:lnTo>
                  <a:pt x="503" y="1944"/>
                </a:lnTo>
                <a:lnTo>
                  <a:pt x="515" y="1968"/>
                </a:lnTo>
                <a:lnTo>
                  <a:pt x="525" y="1991"/>
                </a:lnTo>
                <a:lnTo>
                  <a:pt x="535" y="2017"/>
                </a:lnTo>
                <a:lnTo>
                  <a:pt x="545" y="2046"/>
                </a:lnTo>
                <a:lnTo>
                  <a:pt x="552" y="2079"/>
                </a:lnTo>
                <a:lnTo>
                  <a:pt x="556" y="2117"/>
                </a:lnTo>
                <a:lnTo>
                  <a:pt x="558" y="2159"/>
                </a:lnTo>
                <a:lnTo>
                  <a:pt x="556" y="2203"/>
                </a:lnTo>
                <a:lnTo>
                  <a:pt x="552" y="2241"/>
                </a:lnTo>
                <a:lnTo>
                  <a:pt x="545" y="2274"/>
                </a:lnTo>
                <a:lnTo>
                  <a:pt x="535" y="2303"/>
                </a:lnTo>
                <a:lnTo>
                  <a:pt x="525" y="2329"/>
                </a:lnTo>
                <a:lnTo>
                  <a:pt x="515" y="2352"/>
                </a:lnTo>
                <a:lnTo>
                  <a:pt x="503" y="2376"/>
                </a:lnTo>
                <a:lnTo>
                  <a:pt x="491" y="2400"/>
                </a:lnTo>
                <a:lnTo>
                  <a:pt x="479" y="2423"/>
                </a:lnTo>
                <a:lnTo>
                  <a:pt x="469" y="2449"/>
                </a:lnTo>
                <a:lnTo>
                  <a:pt x="460" y="2478"/>
                </a:lnTo>
                <a:lnTo>
                  <a:pt x="453" y="2511"/>
                </a:lnTo>
                <a:lnTo>
                  <a:pt x="448" y="2549"/>
                </a:lnTo>
                <a:lnTo>
                  <a:pt x="447" y="2592"/>
                </a:lnTo>
                <a:lnTo>
                  <a:pt x="448" y="2635"/>
                </a:lnTo>
                <a:lnTo>
                  <a:pt x="453" y="2673"/>
                </a:lnTo>
                <a:lnTo>
                  <a:pt x="460" y="2706"/>
                </a:lnTo>
                <a:lnTo>
                  <a:pt x="469" y="2735"/>
                </a:lnTo>
                <a:lnTo>
                  <a:pt x="479" y="2761"/>
                </a:lnTo>
                <a:lnTo>
                  <a:pt x="491" y="2784"/>
                </a:lnTo>
                <a:lnTo>
                  <a:pt x="515" y="2832"/>
                </a:lnTo>
                <a:lnTo>
                  <a:pt x="525" y="2855"/>
                </a:lnTo>
                <a:lnTo>
                  <a:pt x="535" y="2881"/>
                </a:lnTo>
                <a:lnTo>
                  <a:pt x="545" y="2910"/>
                </a:lnTo>
                <a:lnTo>
                  <a:pt x="552" y="2943"/>
                </a:lnTo>
                <a:lnTo>
                  <a:pt x="556" y="2981"/>
                </a:lnTo>
                <a:lnTo>
                  <a:pt x="558" y="3024"/>
                </a:lnTo>
                <a:lnTo>
                  <a:pt x="556" y="3067"/>
                </a:lnTo>
                <a:lnTo>
                  <a:pt x="552" y="3105"/>
                </a:lnTo>
                <a:lnTo>
                  <a:pt x="545" y="3138"/>
                </a:lnTo>
                <a:lnTo>
                  <a:pt x="535" y="3167"/>
                </a:lnTo>
                <a:lnTo>
                  <a:pt x="525" y="3193"/>
                </a:lnTo>
                <a:lnTo>
                  <a:pt x="515" y="3216"/>
                </a:lnTo>
                <a:lnTo>
                  <a:pt x="503" y="3240"/>
                </a:lnTo>
                <a:lnTo>
                  <a:pt x="491" y="3264"/>
                </a:lnTo>
                <a:lnTo>
                  <a:pt x="479" y="3287"/>
                </a:lnTo>
                <a:lnTo>
                  <a:pt x="469" y="3313"/>
                </a:lnTo>
                <a:lnTo>
                  <a:pt x="460" y="3342"/>
                </a:lnTo>
                <a:lnTo>
                  <a:pt x="453" y="3375"/>
                </a:lnTo>
                <a:lnTo>
                  <a:pt x="448" y="3413"/>
                </a:lnTo>
                <a:lnTo>
                  <a:pt x="447" y="3456"/>
                </a:lnTo>
                <a:lnTo>
                  <a:pt x="448" y="3499"/>
                </a:lnTo>
                <a:lnTo>
                  <a:pt x="453" y="3537"/>
                </a:lnTo>
                <a:lnTo>
                  <a:pt x="460" y="3570"/>
                </a:lnTo>
                <a:lnTo>
                  <a:pt x="469" y="3599"/>
                </a:lnTo>
                <a:lnTo>
                  <a:pt x="479" y="3625"/>
                </a:lnTo>
                <a:lnTo>
                  <a:pt x="491" y="3648"/>
                </a:lnTo>
                <a:lnTo>
                  <a:pt x="503" y="3672"/>
                </a:lnTo>
                <a:lnTo>
                  <a:pt x="515" y="3696"/>
                </a:lnTo>
                <a:lnTo>
                  <a:pt x="525" y="3719"/>
                </a:lnTo>
                <a:lnTo>
                  <a:pt x="535" y="3745"/>
                </a:lnTo>
                <a:lnTo>
                  <a:pt x="545" y="3774"/>
                </a:lnTo>
                <a:lnTo>
                  <a:pt x="552" y="3807"/>
                </a:lnTo>
                <a:lnTo>
                  <a:pt x="556" y="3845"/>
                </a:lnTo>
                <a:lnTo>
                  <a:pt x="558" y="3888"/>
                </a:lnTo>
                <a:lnTo>
                  <a:pt x="556" y="3931"/>
                </a:lnTo>
                <a:lnTo>
                  <a:pt x="552" y="3969"/>
                </a:lnTo>
                <a:lnTo>
                  <a:pt x="545" y="4002"/>
                </a:lnTo>
                <a:lnTo>
                  <a:pt x="535" y="4031"/>
                </a:lnTo>
                <a:lnTo>
                  <a:pt x="525" y="4057"/>
                </a:lnTo>
                <a:lnTo>
                  <a:pt x="515" y="4080"/>
                </a:lnTo>
                <a:lnTo>
                  <a:pt x="503" y="4104"/>
                </a:lnTo>
                <a:lnTo>
                  <a:pt x="491" y="4128"/>
                </a:lnTo>
                <a:lnTo>
                  <a:pt x="479" y="4151"/>
                </a:lnTo>
                <a:lnTo>
                  <a:pt x="469" y="4177"/>
                </a:lnTo>
                <a:lnTo>
                  <a:pt x="460" y="4206"/>
                </a:lnTo>
                <a:lnTo>
                  <a:pt x="453" y="4239"/>
                </a:lnTo>
                <a:lnTo>
                  <a:pt x="448" y="4277"/>
                </a:lnTo>
                <a:lnTo>
                  <a:pt x="447" y="4320"/>
                </a:ln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Rectangle 11" title="right edge border"/>
          <p:cNvSpPr/>
          <p:nvPr/>
        </p:nvSpPr>
        <p:spPr>
          <a:xfrm>
            <a:off x="11908536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016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100" kern="1200" cap="all" spc="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92">
          <p15:clr>
            <a:srgbClr val="F26B43"/>
          </p15:clr>
        </p15:guide>
        <p15:guide id="2" pos="7200">
          <p15:clr>
            <a:srgbClr val="F26B43"/>
          </p15:clr>
        </p15:guide>
        <p15:guide id="3" orient="horz" pos="4008">
          <p15:clr>
            <a:srgbClr val="F26B43"/>
          </p15:clr>
        </p15:guide>
        <p15:guide id="4" orient="horz" pos="1440">
          <p15:clr>
            <a:srgbClr val="F26B43"/>
          </p15:clr>
        </p15:guide>
        <p15:guide id="5" orient="horz" pos="3720">
          <p15:clr>
            <a:srgbClr val="F26B43"/>
          </p15:clr>
        </p15:guide>
        <p15:guide id="6" orient="horz" pos="2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42673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9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14921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286001"/>
            <a:ext cx="10178322" cy="3593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1678" y="6375679"/>
            <a:ext cx="2329722" cy="3484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75679"/>
            <a:ext cx="4114800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75679"/>
            <a:ext cx="2819399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" name="Freeform 6" title="Left scallop edge"/>
          <p:cNvSpPr/>
          <p:nvPr/>
        </p:nvSpPr>
        <p:spPr bwMode="auto">
          <a:xfrm>
            <a:off x="0" y="0"/>
            <a:ext cx="885825" cy="6858000"/>
          </a:xfrm>
          <a:custGeom>
            <a:avLst/>
            <a:gdLst/>
            <a:ahLst/>
            <a:cxnLst/>
            <a:rect l="0" t="0" r="r" b="b"/>
            <a:pathLst>
              <a:path w="558" h="4320">
                <a:moveTo>
                  <a:pt x="0" y="0"/>
                </a:moveTo>
                <a:lnTo>
                  <a:pt x="447" y="0"/>
                </a:lnTo>
                <a:lnTo>
                  <a:pt x="448" y="43"/>
                </a:lnTo>
                <a:lnTo>
                  <a:pt x="453" y="81"/>
                </a:lnTo>
                <a:lnTo>
                  <a:pt x="460" y="114"/>
                </a:lnTo>
                <a:lnTo>
                  <a:pt x="469" y="143"/>
                </a:lnTo>
                <a:lnTo>
                  <a:pt x="479" y="169"/>
                </a:lnTo>
                <a:lnTo>
                  <a:pt x="491" y="192"/>
                </a:lnTo>
                <a:lnTo>
                  <a:pt x="503" y="216"/>
                </a:lnTo>
                <a:lnTo>
                  <a:pt x="515" y="240"/>
                </a:lnTo>
                <a:lnTo>
                  <a:pt x="525" y="263"/>
                </a:lnTo>
                <a:lnTo>
                  <a:pt x="535" y="289"/>
                </a:lnTo>
                <a:lnTo>
                  <a:pt x="545" y="318"/>
                </a:lnTo>
                <a:lnTo>
                  <a:pt x="552" y="351"/>
                </a:lnTo>
                <a:lnTo>
                  <a:pt x="556" y="389"/>
                </a:lnTo>
                <a:lnTo>
                  <a:pt x="558" y="432"/>
                </a:lnTo>
                <a:lnTo>
                  <a:pt x="556" y="475"/>
                </a:lnTo>
                <a:lnTo>
                  <a:pt x="552" y="513"/>
                </a:lnTo>
                <a:lnTo>
                  <a:pt x="545" y="546"/>
                </a:lnTo>
                <a:lnTo>
                  <a:pt x="535" y="575"/>
                </a:lnTo>
                <a:lnTo>
                  <a:pt x="525" y="601"/>
                </a:lnTo>
                <a:lnTo>
                  <a:pt x="515" y="624"/>
                </a:lnTo>
                <a:lnTo>
                  <a:pt x="503" y="648"/>
                </a:lnTo>
                <a:lnTo>
                  <a:pt x="491" y="672"/>
                </a:lnTo>
                <a:lnTo>
                  <a:pt x="479" y="695"/>
                </a:lnTo>
                <a:lnTo>
                  <a:pt x="469" y="721"/>
                </a:lnTo>
                <a:lnTo>
                  <a:pt x="460" y="750"/>
                </a:lnTo>
                <a:lnTo>
                  <a:pt x="453" y="783"/>
                </a:lnTo>
                <a:lnTo>
                  <a:pt x="448" y="821"/>
                </a:lnTo>
                <a:lnTo>
                  <a:pt x="447" y="864"/>
                </a:lnTo>
                <a:lnTo>
                  <a:pt x="448" y="907"/>
                </a:lnTo>
                <a:lnTo>
                  <a:pt x="453" y="945"/>
                </a:lnTo>
                <a:lnTo>
                  <a:pt x="460" y="978"/>
                </a:lnTo>
                <a:lnTo>
                  <a:pt x="469" y="1007"/>
                </a:lnTo>
                <a:lnTo>
                  <a:pt x="479" y="1033"/>
                </a:lnTo>
                <a:lnTo>
                  <a:pt x="491" y="1056"/>
                </a:lnTo>
                <a:lnTo>
                  <a:pt x="503" y="1080"/>
                </a:lnTo>
                <a:lnTo>
                  <a:pt x="515" y="1104"/>
                </a:lnTo>
                <a:lnTo>
                  <a:pt x="525" y="1127"/>
                </a:lnTo>
                <a:lnTo>
                  <a:pt x="535" y="1153"/>
                </a:lnTo>
                <a:lnTo>
                  <a:pt x="545" y="1182"/>
                </a:lnTo>
                <a:lnTo>
                  <a:pt x="552" y="1215"/>
                </a:lnTo>
                <a:lnTo>
                  <a:pt x="556" y="1253"/>
                </a:lnTo>
                <a:lnTo>
                  <a:pt x="558" y="1296"/>
                </a:lnTo>
                <a:lnTo>
                  <a:pt x="556" y="1339"/>
                </a:lnTo>
                <a:lnTo>
                  <a:pt x="552" y="1377"/>
                </a:lnTo>
                <a:lnTo>
                  <a:pt x="545" y="1410"/>
                </a:lnTo>
                <a:lnTo>
                  <a:pt x="535" y="1439"/>
                </a:lnTo>
                <a:lnTo>
                  <a:pt x="525" y="1465"/>
                </a:lnTo>
                <a:lnTo>
                  <a:pt x="515" y="1488"/>
                </a:lnTo>
                <a:lnTo>
                  <a:pt x="503" y="1512"/>
                </a:lnTo>
                <a:lnTo>
                  <a:pt x="491" y="1536"/>
                </a:lnTo>
                <a:lnTo>
                  <a:pt x="479" y="1559"/>
                </a:lnTo>
                <a:lnTo>
                  <a:pt x="469" y="1585"/>
                </a:lnTo>
                <a:lnTo>
                  <a:pt x="460" y="1614"/>
                </a:lnTo>
                <a:lnTo>
                  <a:pt x="453" y="1647"/>
                </a:lnTo>
                <a:lnTo>
                  <a:pt x="448" y="1685"/>
                </a:lnTo>
                <a:lnTo>
                  <a:pt x="447" y="1728"/>
                </a:lnTo>
                <a:lnTo>
                  <a:pt x="448" y="1771"/>
                </a:lnTo>
                <a:lnTo>
                  <a:pt x="453" y="1809"/>
                </a:lnTo>
                <a:lnTo>
                  <a:pt x="460" y="1842"/>
                </a:lnTo>
                <a:lnTo>
                  <a:pt x="469" y="1871"/>
                </a:lnTo>
                <a:lnTo>
                  <a:pt x="479" y="1897"/>
                </a:lnTo>
                <a:lnTo>
                  <a:pt x="491" y="1920"/>
                </a:lnTo>
                <a:lnTo>
                  <a:pt x="503" y="1944"/>
                </a:lnTo>
                <a:lnTo>
                  <a:pt x="515" y="1968"/>
                </a:lnTo>
                <a:lnTo>
                  <a:pt x="525" y="1991"/>
                </a:lnTo>
                <a:lnTo>
                  <a:pt x="535" y="2017"/>
                </a:lnTo>
                <a:lnTo>
                  <a:pt x="545" y="2046"/>
                </a:lnTo>
                <a:lnTo>
                  <a:pt x="552" y="2079"/>
                </a:lnTo>
                <a:lnTo>
                  <a:pt x="556" y="2117"/>
                </a:lnTo>
                <a:lnTo>
                  <a:pt x="558" y="2159"/>
                </a:lnTo>
                <a:lnTo>
                  <a:pt x="556" y="2203"/>
                </a:lnTo>
                <a:lnTo>
                  <a:pt x="552" y="2241"/>
                </a:lnTo>
                <a:lnTo>
                  <a:pt x="545" y="2274"/>
                </a:lnTo>
                <a:lnTo>
                  <a:pt x="535" y="2303"/>
                </a:lnTo>
                <a:lnTo>
                  <a:pt x="525" y="2329"/>
                </a:lnTo>
                <a:lnTo>
                  <a:pt x="515" y="2352"/>
                </a:lnTo>
                <a:lnTo>
                  <a:pt x="503" y="2376"/>
                </a:lnTo>
                <a:lnTo>
                  <a:pt x="491" y="2400"/>
                </a:lnTo>
                <a:lnTo>
                  <a:pt x="479" y="2423"/>
                </a:lnTo>
                <a:lnTo>
                  <a:pt x="469" y="2449"/>
                </a:lnTo>
                <a:lnTo>
                  <a:pt x="460" y="2478"/>
                </a:lnTo>
                <a:lnTo>
                  <a:pt x="453" y="2511"/>
                </a:lnTo>
                <a:lnTo>
                  <a:pt x="448" y="2549"/>
                </a:lnTo>
                <a:lnTo>
                  <a:pt x="447" y="2592"/>
                </a:lnTo>
                <a:lnTo>
                  <a:pt x="448" y="2635"/>
                </a:lnTo>
                <a:lnTo>
                  <a:pt x="453" y="2673"/>
                </a:lnTo>
                <a:lnTo>
                  <a:pt x="460" y="2706"/>
                </a:lnTo>
                <a:lnTo>
                  <a:pt x="469" y="2735"/>
                </a:lnTo>
                <a:lnTo>
                  <a:pt x="479" y="2761"/>
                </a:lnTo>
                <a:lnTo>
                  <a:pt x="491" y="2784"/>
                </a:lnTo>
                <a:lnTo>
                  <a:pt x="515" y="2832"/>
                </a:lnTo>
                <a:lnTo>
                  <a:pt x="525" y="2855"/>
                </a:lnTo>
                <a:lnTo>
                  <a:pt x="535" y="2881"/>
                </a:lnTo>
                <a:lnTo>
                  <a:pt x="545" y="2910"/>
                </a:lnTo>
                <a:lnTo>
                  <a:pt x="552" y="2943"/>
                </a:lnTo>
                <a:lnTo>
                  <a:pt x="556" y="2981"/>
                </a:lnTo>
                <a:lnTo>
                  <a:pt x="558" y="3024"/>
                </a:lnTo>
                <a:lnTo>
                  <a:pt x="556" y="3067"/>
                </a:lnTo>
                <a:lnTo>
                  <a:pt x="552" y="3105"/>
                </a:lnTo>
                <a:lnTo>
                  <a:pt x="545" y="3138"/>
                </a:lnTo>
                <a:lnTo>
                  <a:pt x="535" y="3167"/>
                </a:lnTo>
                <a:lnTo>
                  <a:pt x="525" y="3193"/>
                </a:lnTo>
                <a:lnTo>
                  <a:pt x="515" y="3216"/>
                </a:lnTo>
                <a:lnTo>
                  <a:pt x="503" y="3240"/>
                </a:lnTo>
                <a:lnTo>
                  <a:pt x="491" y="3264"/>
                </a:lnTo>
                <a:lnTo>
                  <a:pt x="479" y="3287"/>
                </a:lnTo>
                <a:lnTo>
                  <a:pt x="469" y="3313"/>
                </a:lnTo>
                <a:lnTo>
                  <a:pt x="460" y="3342"/>
                </a:lnTo>
                <a:lnTo>
                  <a:pt x="453" y="3375"/>
                </a:lnTo>
                <a:lnTo>
                  <a:pt x="448" y="3413"/>
                </a:lnTo>
                <a:lnTo>
                  <a:pt x="447" y="3456"/>
                </a:lnTo>
                <a:lnTo>
                  <a:pt x="448" y="3499"/>
                </a:lnTo>
                <a:lnTo>
                  <a:pt x="453" y="3537"/>
                </a:lnTo>
                <a:lnTo>
                  <a:pt x="460" y="3570"/>
                </a:lnTo>
                <a:lnTo>
                  <a:pt x="469" y="3599"/>
                </a:lnTo>
                <a:lnTo>
                  <a:pt x="479" y="3625"/>
                </a:lnTo>
                <a:lnTo>
                  <a:pt x="491" y="3648"/>
                </a:lnTo>
                <a:lnTo>
                  <a:pt x="503" y="3672"/>
                </a:lnTo>
                <a:lnTo>
                  <a:pt x="515" y="3696"/>
                </a:lnTo>
                <a:lnTo>
                  <a:pt x="525" y="3719"/>
                </a:lnTo>
                <a:lnTo>
                  <a:pt x="535" y="3745"/>
                </a:lnTo>
                <a:lnTo>
                  <a:pt x="545" y="3774"/>
                </a:lnTo>
                <a:lnTo>
                  <a:pt x="552" y="3807"/>
                </a:lnTo>
                <a:lnTo>
                  <a:pt x="556" y="3845"/>
                </a:lnTo>
                <a:lnTo>
                  <a:pt x="558" y="3888"/>
                </a:lnTo>
                <a:lnTo>
                  <a:pt x="556" y="3931"/>
                </a:lnTo>
                <a:lnTo>
                  <a:pt x="552" y="3969"/>
                </a:lnTo>
                <a:lnTo>
                  <a:pt x="545" y="4002"/>
                </a:lnTo>
                <a:lnTo>
                  <a:pt x="535" y="4031"/>
                </a:lnTo>
                <a:lnTo>
                  <a:pt x="525" y="4057"/>
                </a:lnTo>
                <a:lnTo>
                  <a:pt x="515" y="4080"/>
                </a:lnTo>
                <a:lnTo>
                  <a:pt x="503" y="4104"/>
                </a:lnTo>
                <a:lnTo>
                  <a:pt x="491" y="4128"/>
                </a:lnTo>
                <a:lnTo>
                  <a:pt x="479" y="4151"/>
                </a:lnTo>
                <a:lnTo>
                  <a:pt x="469" y="4177"/>
                </a:lnTo>
                <a:lnTo>
                  <a:pt x="460" y="4206"/>
                </a:lnTo>
                <a:lnTo>
                  <a:pt x="453" y="4239"/>
                </a:lnTo>
                <a:lnTo>
                  <a:pt x="448" y="4277"/>
                </a:lnTo>
                <a:lnTo>
                  <a:pt x="447" y="4320"/>
                </a:ln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Rectangle 11" title="right edge border"/>
          <p:cNvSpPr/>
          <p:nvPr/>
        </p:nvSpPr>
        <p:spPr>
          <a:xfrm>
            <a:off x="11908536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45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100" kern="1200" cap="all" spc="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92">
          <p15:clr>
            <a:srgbClr val="F26B43"/>
          </p15:clr>
        </p15:guide>
        <p15:guide id="2" pos="7200">
          <p15:clr>
            <a:srgbClr val="F26B43"/>
          </p15:clr>
        </p15:guide>
        <p15:guide id="3" orient="horz" pos="4008">
          <p15:clr>
            <a:srgbClr val="F26B43"/>
          </p15:clr>
        </p15:guide>
        <p15:guide id="4" orient="horz" pos="1440">
          <p15:clr>
            <a:srgbClr val="F26B43"/>
          </p15:clr>
        </p15:guide>
        <p15:guide id="5" orient="horz" pos="3720">
          <p15:clr>
            <a:srgbClr val="F26B43"/>
          </p15:clr>
        </p15:guide>
        <p15:guide id="6" orient="horz" pos="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Hình chữ nhật 2">
            <a:extLst>
              <a:ext uri="{FF2B5EF4-FFF2-40B4-BE49-F238E27FC236}">
                <a16:creationId xmlns:a16="http://schemas.microsoft.com/office/drawing/2014/main" id="{D66D922A-D06C-4207-8E92-F6EE29071D89}"/>
              </a:ext>
            </a:extLst>
          </p:cNvPr>
          <p:cNvSpPr/>
          <p:nvPr/>
        </p:nvSpPr>
        <p:spPr>
          <a:xfrm>
            <a:off x="0" y="-152400"/>
            <a:ext cx="12198602" cy="5000625"/>
          </a:xfrm>
          <a:prstGeom prst="rect">
            <a:avLst/>
          </a:prstGeom>
          <a:solidFill>
            <a:srgbClr val="006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Hình chữ nhật 9">
            <a:extLst>
              <a:ext uri="{FF2B5EF4-FFF2-40B4-BE49-F238E27FC236}">
                <a16:creationId xmlns:a16="http://schemas.microsoft.com/office/drawing/2014/main" id="{268D7380-2543-4FA5-A17B-9AEFD2795705}"/>
              </a:ext>
            </a:extLst>
          </p:cNvPr>
          <p:cNvSpPr/>
          <p:nvPr/>
        </p:nvSpPr>
        <p:spPr>
          <a:xfrm>
            <a:off x="6602" y="2165596"/>
            <a:ext cx="12192000" cy="2532741"/>
          </a:xfrm>
          <a:prstGeom prst="rect">
            <a:avLst/>
          </a:prstGeom>
          <a:solidFill>
            <a:srgbClr val="006698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Hình chữ nhật 5">
            <a:extLst>
              <a:ext uri="{FF2B5EF4-FFF2-40B4-BE49-F238E27FC236}">
                <a16:creationId xmlns:a16="http://schemas.microsoft.com/office/drawing/2014/main" id="{2EF79ED1-4A83-4510-8C9A-F850C66D8A3E}"/>
              </a:ext>
            </a:extLst>
          </p:cNvPr>
          <p:cNvSpPr/>
          <p:nvPr/>
        </p:nvSpPr>
        <p:spPr>
          <a:xfrm>
            <a:off x="-658" y="2238829"/>
            <a:ext cx="12192000" cy="23803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8" name="Hộp Văn bản 10">
            <a:extLst>
              <a:ext uri="{FF2B5EF4-FFF2-40B4-BE49-F238E27FC236}">
                <a16:creationId xmlns:a16="http://schemas.microsoft.com/office/drawing/2014/main" id="{592B7E12-4D80-4AE3-8DC7-C5875F316DDA}"/>
              </a:ext>
            </a:extLst>
          </p:cNvPr>
          <p:cNvSpPr txBox="1"/>
          <p:nvPr/>
        </p:nvSpPr>
        <p:spPr>
          <a:xfrm>
            <a:off x="3514926" y="2797826"/>
            <a:ext cx="83241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 smtClean="0">
                <a:solidFill>
                  <a:srgbClr val="000000"/>
                </a:solidFill>
              </a:rPr>
              <a:t>PAST PERFECT</a:t>
            </a:r>
            <a:endParaRPr lang="en-US" sz="4000" b="1" dirty="0">
              <a:solidFill>
                <a:srgbClr val="000000"/>
              </a:solidFill>
            </a:endParaRPr>
          </a:p>
        </p:txBody>
      </p:sp>
      <p:sp>
        <p:nvSpPr>
          <p:cNvPr id="19" name="Hình chữ nhật 11">
            <a:extLst>
              <a:ext uri="{FF2B5EF4-FFF2-40B4-BE49-F238E27FC236}">
                <a16:creationId xmlns:a16="http://schemas.microsoft.com/office/drawing/2014/main" id="{151A9104-93F1-430B-B630-E7BD646A0D64}"/>
              </a:ext>
            </a:extLst>
          </p:cNvPr>
          <p:cNvSpPr/>
          <p:nvPr/>
        </p:nvSpPr>
        <p:spPr>
          <a:xfrm>
            <a:off x="8167575" y="2101105"/>
            <a:ext cx="3671454" cy="9698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Hình chữ nhật 12">
            <a:extLst>
              <a:ext uri="{FF2B5EF4-FFF2-40B4-BE49-F238E27FC236}">
                <a16:creationId xmlns:a16="http://schemas.microsoft.com/office/drawing/2014/main" id="{E89211B6-72B8-40C3-A995-4AD873B7E79E}"/>
              </a:ext>
            </a:extLst>
          </p:cNvPr>
          <p:cNvSpPr/>
          <p:nvPr/>
        </p:nvSpPr>
        <p:spPr>
          <a:xfrm>
            <a:off x="242131" y="4650344"/>
            <a:ext cx="3671454" cy="9698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5E8D8"/>
              </a:clrFrom>
              <a:clrTo>
                <a:srgbClr val="F5E8D8">
                  <a:alpha val="0"/>
                </a:srgbClr>
              </a:clrTo>
            </a:clrChange>
          </a:blip>
          <a:srcRect l="5474" t="373" r="8712" b="1344"/>
          <a:stretch/>
        </p:blipFill>
        <p:spPr>
          <a:xfrm>
            <a:off x="283367" y="721274"/>
            <a:ext cx="3469055" cy="3383280"/>
          </a:xfrm>
          <a:prstGeom prst="rect">
            <a:avLst/>
          </a:prstGeom>
        </p:spPr>
      </p:pic>
      <p:pic>
        <p:nvPicPr>
          <p:cNvPr id="21" name="Hình ảnh 14">
            <a:extLst>
              <a:ext uri="{FF2B5EF4-FFF2-40B4-BE49-F238E27FC236}">
                <a16:creationId xmlns:a16="http://schemas.microsoft.com/office/drawing/2014/main" id="{21DAF3B5-398A-44FF-8033-5661661FFDC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976"/>
          <a:stretch/>
        </p:blipFill>
        <p:spPr>
          <a:xfrm>
            <a:off x="791289" y="1416509"/>
            <a:ext cx="2306030" cy="1730083"/>
          </a:xfrm>
          <a:prstGeom prst="rect">
            <a:avLst/>
          </a:prstGeom>
        </p:spPr>
      </p:pic>
      <p:sp>
        <p:nvSpPr>
          <p:cNvPr id="23" name="Hộp Văn bản 3">
            <a:extLst>
              <a:ext uri="{FF2B5EF4-FFF2-40B4-BE49-F238E27FC236}">
                <a16:creationId xmlns:a16="http://schemas.microsoft.com/office/drawing/2014/main" id="{171ACF05-1D59-4589-818C-92E76275940F}"/>
              </a:ext>
            </a:extLst>
          </p:cNvPr>
          <p:cNvSpPr txBox="1"/>
          <p:nvPr/>
        </p:nvSpPr>
        <p:spPr>
          <a:xfrm>
            <a:off x="5075128" y="163904"/>
            <a:ext cx="67639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600" b="1" dirty="0">
                <a:solidFill>
                  <a:schemeClr val="bg1"/>
                </a:solidFill>
              </a:rPr>
              <a:t>HỌC VIỆN ĐÀO TẠO QUỐC TẾ </a:t>
            </a:r>
            <a:r>
              <a:rPr lang="en-US" sz="3600" b="1" dirty="0" err="1">
                <a:solidFill>
                  <a:schemeClr val="bg1"/>
                </a:solidFill>
              </a:rPr>
              <a:t>ANi</a:t>
            </a:r>
            <a:endParaRPr lang="en-US" sz="3600" b="1" dirty="0">
              <a:solidFill>
                <a:schemeClr val="bg1"/>
              </a:solidFill>
            </a:endParaRPr>
          </a:p>
          <a:p>
            <a:pPr algn="r"/>
            <a:r>
              <a:rPr lang="en-US" sz="2000" b="1" spc="400" dirty="0">
                <a:solidFill>
                  <a:schemeClr val="bg1"/>
                </a:solidFill>
              </a:rPr>
              <a:t>ACADEMY OF NETWORK AND INNOVATIONS</a:t>
            </a:r>
          </a:p>
        </p:txBody>
      </p:sp>
      <p:sp>
        <p:nvSpPr>
          <p:cNvPr id="24" name="Hình chữ nhật 4">
            <a:extLst>
              <a:ext uri="{FF2B5EF4-FFF2-40B4-BE49-F238E27FC236}">
                <a16:creationId xmlns:a16="http://schemas.microsoft.com/office/drawing/2014/main" id="{979AEA6D-8EF7-42D3-AB34-92EDB55285A1}"/>
              </a:ext>
            </a:extLst>
          </p:cNvPr>
          <p:cNvSpPr/>
          <p:nvPr/>
        </p:nvSpPr>
        <p:spPr>
          <a:xfrm rot="16200000">
            <a:off x="8362950" y="5556047"/>
            <a:ext cx="504825" cy="45719"/>
          </a:xfrm>
          <a:prstGeom prst="rect">
            <a:avLst/>
          </a:prstGeom>
          <a:solidFill>
            <a:srgbClr val="006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Hộp Văn bản 15">
            <a:extLst>
              <a:ext uri="{FF2B5EF4-FFF2-40B4-BE49-F238E27FC236}">
                <a16:creationId xmlns:a16="http://schemas.microsoft.com/office/drawing/2014/main" id="{29C0EFD4-CE08-4DD2-B009-5EAD3FB258FD}"/>
              </a:ext>
            </a:extLst>
          </p:cNvPr>
          <p:cNvSpPr txBox="1"/>
          <p:nvPr/>
        </p:nvSpPr>
        <p:spPr>
          <a:xfrm>
            <a:off x="7391151" y="5373243"/>
            <a:ext cx="1144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000" dirty="0">
                <a:solidFill>
                  <a:srgbClr val="000000"/>
                </a:solidFill>
              </a:rPr>
              <a:t>TEACHER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Hộp Văn bản 1">
            <a:extLst>
              <a:ext uri="{FF2B5EF4-FFF2-40B4-BE49-F238E27FC236}">
                <a16:creationId xmlns:a16="http://schemas.microsoft.com/office/drawing/2014/main" id="{8F73B06E-BDE4-4649-9842-9FB117FD00F9}"/>
              </a:ext>
            </a:extLst>
          </p:cNvPr>
          <p:cNvSpPr txBox="1"/>
          <p:nvPr/>
        </p:nvSpPr>
        <p:spPr>
          <a:xfrm>
            <a:off x="8751196" y="5078754"/>
            <a:ext cx="1609736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rgbClr val="006698"/>
                </a:solidFill>
                <a:latin typeface="UTM Swiss Condensed" panose="02000500000000000000" pitchFamily="2" charset="0"/>
              </a:rPr>
              <a:t>Ms. </a:t>
            </a:r>
            <a:r>
              <a:rPr lang="en-US" sz="2000" dirty="0" err="1" smtClean="0">
                <a:solidFill>
                  <a:srgbClr val="006698"/>
                </a:solidFill>
                <a:latin typeface="UTM Swiss Condensed" panose="02000500000000000000" pitchFamily="2" charset="0"/>
              </a:rPr>
              <a:t>Linh</a:t>
            </a:r>
            <a:r>
              <a:rPr lang="en-US" sz="2000" dirty="0" smtClean="0">
                <a:solidFill>
                  <a:srgbClr val="006698"/>
                </a:solidFill>
                <a:latin typeface="UTM Swiss Condensed" panose="02000500000000000000" pitchFamily="2" charset="0"/>
              </a:rPr>
              <a:t> Chi</a:t>
            </a:r>
            <a:endParaRPr lang="en-US" sz="1600" i="1" dirty="0">
              <a:solidFill>
                <a:srgbClr val="006698"/>
              </a:solidFill>
              <a:latin typeface="UTM Swiss Condensed" panose="02000500000000000000" pitchFamily="2" charset="0"/>
            </a:endParaRPr>
          </a:p>
          <a:p>
            <a:endParaRPr lang="en-US" dirty="0">
              <a:solidFill>
                <a:srgbClr val="006698"/>
              </a:solidFill>
              <a:latin typeface="UTM Swiss Condensed" panose="02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639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4125" y="1980616"/>
            <a:ext cx="9495656" cy="4877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654125" y="1120877"/>
            <a:ext cx="96431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/>
              <a:t>When he </a:t>
            </a:r>
            <a:r>
              <a:rPr lang="en-US" sz="3600" b="1" dirty="0" smtClean="0"/>
              <a:t>arrived</a:t>
            </a:r>
            <a:r>
              <a:rPr lang="en-US" sz="3600" dirty="0" smtClean="0"/>
              <a:t> to the train station, the train </a:t>
            </a:r>
            <a:r>
              <a:rPr lang="en-US" sz="3600" b="1" dirty="0" smtClean="0"/>
              <a:t>had left</a:t>
            </a:r>
            <a:endParaRPr lang="en-US" sz="3600" b="1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44153" y="-153677"/>
            <a:ext cx="10515600" cy="132556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ctr">
              <a:lnSpc>
                <a:spcPct val="170000"/>
              </a:lnSpc>
            </a:pPr>
            <a:r>
              <a:rPr lang="en-US" u="sng" dirty="0" smtClean="0">
                <a:solidFill>
                  <a:srgbClr val="006698"/>
                </a:solidFill>
                <a:cs typeface="Calibri" panose="020F0502020204030204" pitchFamily="34" charset="0"/>
              </a:rPr>
              <a:t>FORM</a:t>
            </a:r>
            <a:endParaRPr lang="vi-VN" u="sng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  <p:sp>
        <p:nvSpPr>
          <p:cNvPr id="3" name="Down Arrow 2"/>
          <p:cNvSpPr/>
          <p:nvPr/>
        </p:nvSpPr>
        <p:spPr>
          <a:xfrm>
            <a:off x="10051026" y="1767208"/>
            <a:ext cx="663678" cy="62203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ed Rectangle 4"/>
          <p:cNvSpPr/>
          <p:nvPr/>
        </p:nvSpPr>
        <p:spPr>
          <a:xfrm>
            <a:off x="8893277" y="2492478"/>
            <a:ext cx="2905433" cy="117987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 err="1" smtClean="0"/>
              <a:t>S+had+pp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2770037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917" y="1171886"/>
            <a:ext cx="10712553" cy="48410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1144153" y="-153677"/>
            <a:ext cx="10515600" cy="132556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ctr">
              <a:lnSpc>
                <a:spcPct val="170000"/>
              </a:lnSpc>
            </a:pPr>
            <a:r>
              <a:rPr lang="en-US" u="sng" dirty="0" smtClean="0">
                <a:solidFill>
                  <a:srgbClr val="006698"/>
                </a:solidFill>
                <a:cs typeface="Calibri" panose="020F0502020204030204" pitchFamily="34" charset="0"/>
              </a:rPr>
              <a:t>FORM</a:t>
            </a:r>
            <a:endParaRPr lang="vi-VN" u="sng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8763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335" y="868004"/>
            <a:ext cx="10773453" cy="55770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97432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3136" y="162233"/>
            <a:ext cx="3092115" cy="737420"/>
          </a:xfrm>
        </p:spPr>
        <p:txBody>
          <a:bodyPr>
            <a:normAutofit/>
          </a:bodyPr>
          <a:lstStyle/>
          <a:p>
            <a:pPr algn="ctr"/>
            <a:r>
              <a:rPr lang="en-US" sz="3600" u="sng" dirty="0" smtClean="0"/>
              <a:t>Usage 1</a:t>
            </a:r>
            <a:endParaRPr lang="en-US" sz="3600" u="sng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3910" y="1085848"/>
            <a:ext cx="4508090" cy="1937571"/>
          </a:xfrm>
        </p:spPr>
        <p:txBody>
          <a:bodyPr>
            <a:normAutofit/>
          </a:bodyPr>
          <a:lstStyle/>
          <a:p>
            <a:pPr algn="just"/>
            <a:r>
              <a:rPr lang="en-US" sz="3200" dirty="0" err="1" smtClean="0"/>
              <a:t>Diễn</a:t>
            </a:r>
            <a:r>
              <a:rPr lang="en-US" sz="3200" dirty="0" smtClean="0"/>
              <a:t> </a:t>
            </a:r>
            <a:r>
              <a:rPr lang="en-US" sz="3200" dirty="0" err="1" smtClean="0"/>
              <a:t>tả</a:t>
            </a:r>
            <a:r>
              <a:rPr lang="en-US" sz="3200" dirty="0" smtClean="0"/>
              <a:t> </a:t>
            </a:r>
            <a:r>
              <a:rPr lang="en-US" sz="3200" dirty="0" err="1" smtClean="0"/>
              <a:t>hành</a:t>
            </a:r>
            <a:r>
              <a:rPr lang="en-US" sz="3200" dirty="0" smtClean="0"/>
              <a:t> </a:t>
            </a:r>
            <a:r>
              <a:rPr lang="en-US" sz="3200" dirty="0" err="1" smtClean="0"/>
              <a:t>động</a:t>
            </a:r>
            <a:r>
              <a:rPr lang="en-US" sz="3200" dirty="0" smtClean="0"/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xảy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ra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trước</a:t>
            </a:r>
            <a:r>
              <a:rPr lang="en-US" sz="3200" dirty="0" smtClean="0">
                <a:solidFill>
                  <a:schemeClr val="bg1"/>
                </a:solidFill>
              </a:rPr>
              <a:t> 1 </a:t>
            </a:r>
            <a:r>
              <a:rPr lang="en-US" sz="3200" b="1" dirty="0" err="1" smtClean="0">
                <a:solidFill>
                  <a:schemeClr val="accent1"/>
                </a:solidFill>
              </a:rPr>
              <a:t>hành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động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khác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trong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quá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khứ</a:t>
            </a:r>
            <a:endParaRPr lang="en-US" sz="3200" dirty="0" smtClean="0">
              <a:solidFill>
                <a:schemeClr val="bg1"/>
              </a:solidFill>
            </a:endParaRPr>
          </a:p>
          <a:p>
            <a:pPr algn="just"/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7683910" y="3008055"/>
            <a:ext cx="4508090" cy="367714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3200" b="1" u="sng" dirty="0" smtClean="0"/>
              <a:t>Signals:</a:t>
            </a:r>
          </a:p>
          <a:p>
            <a:pPr algn="just"/>
            <a:r>
              <a:rPr lang="en-US" sz="3200" dirty="0" smtClean="0">
                <a:solidFill>
                  <a:schemeClr val="bg1"/>
                </a:solidFill>
              </a:rPr>
              <a:t>- When, as soon as</a:t>
            </a:r>
          </a:p>
          <a:p>
            <a:pPr algn="just"/>
            <a:r>
              <a:rPr lang="en-US" sz="3200" dirty="0" smtClean="0">
                <a:solidFill>
                  <a:schemeClr val="bg1"/>
                </a:solidFill>
              </a:rPr>
              <a:t>- </a:t>
            </a:r>
            <a:r>
              <a:rPr lang="en-US" sz="3200" b="1" dirty="0" smtClean="0">
                <a:solidFill>
                  <a:schemeClr val="accent1"/>
                </a:solidFill>
              </a:rPr>
              <a:t>By/prior to</a:t>
            </a:r>
            <a:r>
              <a:rPr lang="en-US" sz="3200" dirty="0" smtClean="0">
                <a:solidFill>
                  <a:schemeClr val="bg1"/>
                </a:solidFill>
              </a:rPr>
              <a:t> the time, </a:t>
            </a:r>
            <a:r>
              <a:rPr lang="en-US" sz="3200" b="1" dirty="0" smtClean="0">
                <a:solidFill>
                  <a:schemeClr val="accent1"/>
                </a:solidFill>
              </a:rPr>
              <a:t>by</a:t>
            </a:r>
            <a:r>
              <a:rPr lang="en-US" sz="3200" dirty="0" smtClean="0">
                <a:solidFill>
                  <a:schemeClr val="bg1"/>
                </a:solidFill>
              </a:rPr>
              <a:t> the end </a:t>
            </a:r>
            <a:r>
              <a:rPr lang="en-US" sz="3200" dirty="0" err="1" smtClean="0">
                <a:solidFill>
                  <a:schemeClr val="bg1"/>
                </a:solidFill>
              </a:rPr>
              <a:t>of+time</a:t>
            </a:r>
            <a:endParaRPr lang="en-US" sz="3200" dirty="0" smtClean="0">
              <a:solidFill>
                <a:schemeClr val="bg1"/>
              </a:solidFill>
            </a:endParaRPr>
          </a:p>
          <a:p>
            <a:pPr algn="just"/>
            <a:r>
              <a:rPr lang="en-US" sz="3200" dirty="0" smtClean="0">
                <a:solidFill>
                  <a:schemeClr val="bg1"/>
                </a:solidFill>
              </a:rPr>
              <a:t>- Before/ After</a:t>
            </a:r>
          </a:p>
          <a:p>
            <a:pPr algn="just"/>
            <a:r>
              <a:rPr lang="en-US" sz="3200" dirty="0" smtClean="0">
                <a:solidFill>
                  <a:schemeClr val="bg1"/>
                </a:solidFill>
              </a:rPr>
              <a:t>- already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1393" y="2109019"/>
            <a:ext cx="7079224" cy="2908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000000"/>
                </a:solidFill>
              </a:rPr>
              <a:t>E.g. When I </a:t>
            </a:r>
            <a:r>
              <a:rPr lang="en-US" sz="2800" b="1" dirty="0" smtClean="0">
                <a:solidFill>
                  <a:srgbClr val="000000"/>
                </a:solidFill>
              </a:rPr>
              <a:t>came</a:t>
            </a:r>
            <a:r>
              <a:rPr lang="en-US" sz="2800" dirty="0" smtClean="0">
                <a:solidFill>
                  <a:srgbClr val="000000"/>
                </a:solidFill>
              </a:rPr>
              <a:t> home, they </a:t>
            </a:r>
            <a:r>
              <a:rPr lang="en-US" sz="2800" b="1" dirty="0" smtClean="0">
                <a:solidFill>
                  <a:srgbClr val="000000"/>
                </a:solidFill>
              </a:rPr>
              <a:t>had already eaten </a:t>
            </a:r>
            <a:r>
              <a:rPr lang="en-US" sz="2800" dirty="0" smtClean="0">
                <a:solidFill>
                  <a:srgbClr val="000000"/>
                </a:solidFill>
              </a:rPr>
              <a:t>the meal</a:t>
            </a:r>
          </a:p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000000"/>
                </a:solidFill>
              </a:rPr>
              <a:t>By the time I </a:t>
            </a:r>
            <a:r>
              <a:rPr lang="en-US" sz="2800" b="1" dirty="0" smtClean="0">
                <a:solidFill>
                  <a:srgbClr val="000000"/>
                </a:solidFill>
              </a:rPr>
              <a:t>returned</a:t>
            </a:r>
            <a:r>
              <a:rPr lang="en-US" sz="2800" dirty="0" smtClean="0">
                <a:solidFill>
                  <a:srgbClr val="000000"/>
                </a:solidFill>
              </a:rPr>
              <a:t> home, he </a:t>
            </a:r>
            <a:r>
              <a:rPr lang="en-US" sz="2800" b="1" dirty="0" smtClean="0">
                <a:solidFill>
                  <a:srgbClr val="000000"/>
                </a:solidFill>
              </a:rPr>
              <a:t>had already left</a:t>
            </a:r>
          </a:p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000000"/>
                </a:solidFill>
              </a:rPr>
              <a:t>She </a:t>
            </a:r>
            <a:r>
              <a:rPr lang="en-US" sz="2800" b="1" dirty="0" smtClean="0">
                <a:solidFill>
                  <a:srgbClr val="000000"/>
                </a:solidFill>
              </a:rPr>
              <a:t>had washed </a:t>
            </a:r>
            <a:r>
              <a:rPr lang="en-US" sz="2800" dirty="0" smtClean="0">
                <a:solidFill>
                  <a:srgbClr val="000000"/>
                </a:solidFill>
              </a:rPr>
              <a:t>her hands before she </a:t>
            </a:r>
            <a:r>
              <a:rPr lang="en-US" sz="2800" b="1" dirty="0" smtClean="0">
                <a:solidFill>
                  <a:srgbClr val="000000"/>
                </a:solidFill>
              </a:rPr>
              <a:t>cooked</a:t>
            </a:r>
            <a:r>
              <a:rPr lang="en-US" sz="2800" dirty="0" smtClean="0">
                <a:solidFill>
                  <a:srgbClr val="000000"/>
                </a:solidFill>
              </a:rPr>
              <a:t> the dinner</a:t>
            </a:r>
          </a:p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000000"/>
                </a:solidFill>
              </a:rPr>
              <a:t>He </a:t>
            </a:r>
            <a:r>
              <a:rPr lang="en-US" sz="2800" b="1" dirty="0" smtClean="0">
                <a:solidFill>
                  <a:srgbClr val="000000"/>
                </a:solidFill>
              </a:rPr>
              <a:t>began </a:t>
            </a:r>
            <a:r>
              <a:rPr lang="en-US" sz="2800" dirty="0" smtClean="0">
                <a:solidFill>
                  <a:srgbClr val="000000"/>
                </a:solidFill>
              </a:rPr>
              <a:t>to run after he </a:t>
            </a:r>
            <a:r>
              <a:rPr lang="en-US" sz="2800" b="1" dirty="0" smtClean="0">
                <a:solidFill>
                  <a:srgbClr val="000000"/>
                </a:solidFill>
              </a:rPr>
              <a:t>had seen </a:t>
            </a:r>
            <a:r>
              <a:rPr lang="en-US" sz="2800" dirty="0" smtClean="0">
                <a:solidFill>
                  <a:srgbClr val="000000"/>
                </a:solidFill>
              </a:rPr>
              <a:t>the cat</a:t>
            </a:r>
            <a:endParaRPr lang="en-US" sz="2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274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3136" y="162233"/>
            <a:ext cx="3092115" cy="737420"/>
          </a:xfrm>
        </p:spPr>
        <p:txBody>
          <a:bodyPr>
            <a:normAutofit/>
          </a:bodyPr>
          <a:lstStyle/>
          <a:p>
            <a:pPr algn="ctr"/>
            <a:r>
              <a:rPr lang="en-US" sz="3600" u="sng" dirty="0" smtClean="0"/>
              <a:t>Usage 2</a:t>
            </a:r>
            <a:endParaRPr lang="en-US" sz="3600" u="sng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3910" y="1085848"/>
            <a:ext cx="4508090" cy="1937571"/>
          </a:xfrm>
        </p:spPr>
        <p:txBody>
          <a:bodyPr>
            <a:normAutofit/>
          </a:bodyPr>
          <a:lstStyle/>
          <a:p>
            <a:pPr algn="just"/>
            <a:r>
              <a:rPr lang="en-US" sz="3200" dirty="0" err="1"/>
              <a:t>Diễn</a:t>
            </a:r>
            <a:r>
              <a:rPr lang="en-US" sz="3200" dirty="0"/>
              <a:t> </a:t>
            </a:r>
            <a:r>
              <a:rPr lang="en-US" sz="3200" dirty="0" err="1"/>
              <a:t>tả</a:t>
            </a:r>
            <a:r>
              <a:rPr lang="en-US" sz="3200" dirty="0"/>
              <a:t> </a:t>
            </a:r>
            <a:r>
              <a:rPr lang="en-US" sz="3200" dirty="0" err="1"/>
              <a:t>hành</a:t>
            </a:r>
            <a:r>
              <a:rPr lang="en-US" sz="3200" dirty="0"/>
              <a:t> </a:t>
            </a:r>
            <a:r>
              <a:rPr lang="en-US" sz="3200" dirty="0" err="1"/>
              <a:t>động</a:t>
            </a:r>
            <a:r>
              <a:rPr lang="en-US" sz="3200" dirty="0"/>
              <a:t> </a:t>
            </a:r>
            <a:r>
              <a:rPr lang="en-US" sz="3200" b="1" dirty="0" err="1">
                <a:solidFill>
                  <a:schemeClr val="accent1"/>
                </a:solidFill>
              </a:rPr>
              <a:t>xảy</a:t>
            </a:r>
            <a:r>
              <a:rPr lang="en-US" sz="3200" b="1" dirty="0">
                <a:solidFill>
                  <a:schemeClr val="accent1"/>
                </a:solidFill>
              </a:rPr>
              <a:t> </a:t>
            </a:r>
            <a:r>
              <a:rPr lang="en-US" sz="3200" b="1" dirty="0" err="1">
                <a:solidFill>
                  <a:schemeClr val="accent1"/>
                </a:solidFill>
              </a:rPr>
              <a:t>ra</a:t>
            </a:r>
            <a:r>
              <a:rPr lang="en-US" sz="3200" b="1" dirty="0">
                <a:solidFill>
                  <a:schemeClr val="accent1"/>
                </a:solidFill>
              </a:rPr>
              <a:t> </a:t>
            </a:r>
            <a:r>
              <a:rPr lang="en-US" sz="3200" b="1" dirty="0" err="1">
                <a:solidFill>
                  <a:schemeClr val="accent1"/>
                </a:solidFill>
              </a:rPr>
              <a:t>trước</a:t>
            </a:r>
            <a:r>
              <a:rPr lang="en-US" sz="3200" dirty="0">
                <a:solidFill>
                  <a:schemeClr val="bg1"/>
                </a:solidFill>
              </a:rPr>
              <a:t> 1 </a:t>
            </a:r>
            <a:r>
              <a:rPr lang="en-US" sz="3200" b="1" dirty="0" err="1" smtClean="0">
                <a:solidFill>
                  <a:schemeClr val="accent1"/>
                </a:solidFill>
              </a:rPr>
              <a:t>thời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điểm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xác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định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trong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quá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khứ</a:t>
            </a:r>
            <a:endParaRPr lang="en-US" sz="3200" dirty="0">
              <a:solidFill>
                <a:schemeClr val="bg1"/>
              </a:solidFill>
            </a:endParaRPr>
          </a:p>
          <a:p>
            <a:pPr algn="just"/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7683910" y="3037551"/>
            <a:ext cx="4508090" cy="2758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3200" b="1" u="sng" dirty="0" smtClean="0"/>
              <a:t>Signals:</a:t>
            </a:r>
          </a:p>
          <a:p>
            <a:pPr algn="just"/>
            <a:r>
              <a:rPr lang="en-US" sz="3200" dirty="0" smtClean="0">
                <a:solidFill>
                  <a:schemeClr val="bg1"/>
                </a:solidFill>
              </a:rPr>
              <a:t>- Before + </a:t>
            </a:r>
            <a:r>
              <a:rPr lang="en-US" sz="3200" dirty="0" err="1" smtClean="0">
                <a:solidFill>
                  <a:schemeClr val="bg1"/>
                </a:solidFill>
              </a:rPr>
              <a:t>thời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điểm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trong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qúa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khứ</a:t>
            </a:r>
            <a:endParaRPr lang="en-US" sz="3200" dirty="0" smtClean="0">
              <a:solidFill>
                <a:schemeClr val="bg1"/>
              </a:solidFill>
            </a:endParaRPr>
          </a:p>
          <a:p>
            <a:pPr algn="just"/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42453" y="3037551"/>
            <a:ext cx="7079224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000000"/>
                </a:solidFill>
              </a:rPr>
              <a:t>E.g. He </a:t>
            </a:r>
            <a:r>
              <a:rPr lang="en-US" sz="2800" b="1" dirty="0" smtClean="0">
                <a:solidFill>
                  <a:srgbClr val="000000"/>
                </a:solidFill>
              </a:rPr>
              <a:t>had came</a:t>
            </a:r>
            <a:r>
              <a:rPr lang="en-US" sz="2800" dirty="0" smtClean="0">
                <a:solidFill>
                  <a:srgbClr val="000000"/>
                </a:solidFill>
              </a:rPr>
              <a:t> back home before last night</a:t>
            </a:r>
          </a:p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000000"/>
                </a:solidFill>
              </a:rPr>
              <a:t>She </a:t>
            </a:r>
            <a:r>
              <a:rPr lang="en-US" sz="2800" b="1" dirty="0" smtClean="0">
                <a:solidFill>
                  <a:srgbClr val="000000"/>
                </a:solidFill>
              </a:rPr>
              <a:t>had done </a:t>
            </a:r>
            <a:r>
              <a:rPr lang="en-US" sz="2800" dirty="0" smtClean="0">
                <a:solidFill>
                  <a:srgbClr val="000000"/>
                </a:solidFill>
              </a:rPr>
              <a:t>her homework before yesterday</a:t>
            </a:r>
            <a:endParaRPr lang="en-US" sz="2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42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 txBox="1">
            <a:spLocks/>
          </p:cNvSpPr>
          <p:nvPr/>
        </p:nvSpPr>
        <p:spPr>
          <a:xfrm>
            <a:off x="848758" y="1041738"/>
            <a:ext cx="11127342" cy="50663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Char char="–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Char char="–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Char char="–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Char char="–"/>
              <a:defRPr sz="14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en-US" sz="2800" dirty="0" smtClean="0">
                <a:solidFill>
                  <a:srgbClr val="000000"/>
                </a:solidFill>
              </a:rPr>
              <a:t>They (come) ………… back home after they (finish) ………………… their work</a:t>
            </a:r>
          </a:p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en-US" sz="2800" dirty="0" smtClean="0">
                <a:solidFill>
                  <a:srgbClr val="000000"/>
                </a:solidFill>
              </a:rPr>
              <a:t>She said that she (meet) ………………. Mr. Bean before</a:t>
            </a:r>
          </a:p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en-US" sz="2800" dirty="0" smtClean="0">
                <a:solidFill>
                  <a:srgbClr val="000000"/>
                </a:solidFill>
              </a:rPr>
              <a:t>Before he (go) ………… to bed, he (read) ……………….. a novel</a:t>
            </a:r>
          </a:p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en-US" sz="2800" dirty="0" smtClean="0">
                <a:solidFill>
                  <a:srgbClr val="000000"/>
                </a:solidFill>
              </a:rPr>
              <a:t>He told me he (not/wear) ………………… such kind of clothes before</a:t>
            </a:r>
          </a:p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en-US" sz="2800" dirty="0" smtClean="0">
                <a:solidFill>
                  <a:srgbClr val="000000"/>
                </a:solidFill>
              </a:rPr>
              <a:t>When I came to the stadium, the match (start)……………….</a:t>
            </a:r>
          </a:p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en-US" sz="2800" dirty="0" smtClean="0">
                <a:solidFill>
                  <a:srgbClr val="000000"/>
                </a:solidFill>
              </a:rPr>
              <a:t>Last night, Peter (go)………...........to the supermarket before he (go) …………. home</a:t>
            </a:r>
          </a:p>
          <a:p>
            <a:pPr>
              <a:lnSpc>
                <a:spcPct val="150000"/>
              </a:lnSpc>
              <a:spcBef>
                <a:spcPts val="0"/>
              </a:spcBef>
              <a:defRPr/>
            </a:pPr>
            <a:endParaRPr lang="en-US" sz="2800" dirty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743200" y="1104900"/>
            <a:ext cx="17399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came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674100" y="1104900"/>
            <a:ext cx="2425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had finished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876800" y="2362200"/>
            <a:ext cx="17399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rgbClr val="FF0000"/>
                </a:solidFill>
              </a:rPr>
              <a:t>h</a:t>
            </a:r>
            <a:r>
              <a:rPr lang="en-US" sz="3200" dirty="0" smtClean="0">
                <a:solidFill>
                  <a:srgbClr val="FF0000"/>
                </a:solidFill>
              </a:rPr>
              <a:t>ad met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46576" y="3047999"/>
            <a:ext cx="17399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went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18400" y="3047998"/>
            <a:ext cx="17399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had read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876800" y="3646046"/>
            <a:ext cx="2133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rgbClr val="FF0000"/>
                </a:solidFill>
              </a:rPr>
              <a:t>h</a:t>
            </a:r>
            <a:r>
              <a:rPr lang="en-US" sz="3200" dirty="0" smtClean="0">
                <a:solidFill>
                  <a:srgbClr val="FF0000"/>
                </a:solidFill>
              </a:rPr>
              <a:t>adn’t worn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518400" y="4307021"/>
            <a:ext cx="23685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had started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203700" y="4942596"/>
            <a:ext cx="17399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had gone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2200" y="5606475"/>
            <a:ext cx="17399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went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1062499" y="-73742"/>
            <a:ext cx="10515600" cy="132556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just">
              <a:lnSpc>
                <a:spcPct val="170000"/>
              </a:lnSpc>
            </a:pPr>
            <a:r>
              <a:rPr lang="en-US" dirty="0" smtClean="0">
                <a:solidFill>
                  <a:srgbClr val="006698"/>
                </a:solidFill>
                <a:cs typeface="Calibri" panose="020F0502020204030204" pitchFamily="34" charset="0"/>
              </a:rPr>
              <a:t>PRACTICE</a:t>
            </a:r>
            <a:endParaRPr lang="vi-VN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51646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6" grpId="0"/>
      <p:bldP spid="7" grpId="0"/>
      <p:bldP spid="8" grpId="0"/>
      <p:bldP spid="9" grpId="0"/>
      <p:bldP spid="10" grpId="0"/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28724" y="928686"/>
            <a:ext cx="87296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rgbClr val="000000"/>
                </a:solidFill>
              </a:rPr>
              <a:t>Choose the correct answer:</a:t>
            </a:r>
          </a:p>
        </p:txBody>
      </p:sp>
      <p:sp>
        <p:nvSpPr>
          <p:cNvPr id="3" name="Pentagon 2"/>
          <p:cNvSpPr/>
          <p:nvPr/>
        </p:nvSpPr>
        <p:spPr>
          <a:xfrm>
            <a:off x="927100" y="203200"/>
            <a:ext cx="6343855" cy="711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 dirty="0" smtClean="0"/>
              <a:t>BT DẠNG ĐỀ READING PLACEMENT TEST</a:t>
            </a:r>
            <a:endParaRPr lang="en-US" sz="2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927100" y="1710813"/>
            <a:ext cx="11115368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800" dirty="0">
                <a:solidFill>
                  <a:srgbClr val="000000"/>
                </a:solidFill>
              </a:rPr>
              <a:t>1. Before hanging out with friends, Jim </a:t>
            </a:r>
            <a:r>
              <a:rPr lang="en-US" sz="2800" b="1" dirty="0">
                <a:solidFill>
                  <a:srgbClr val="000000"/>
                </a:solidFill>
              </a:rPr>
              <a:t>has done/had done/ did</a:t>
            </a:r>
            <a:r>
              <a:rPr lang="en-US" sz="2800" dirty="0">
                <a:solidFill>
                  <a:srgbClr val="000000"/>
                </a:solidFill>
              </a:rPr>
              <a:t> his homework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800" dirty="0">
                <a:solidFill>
                  <a:srgbClr val="000000"/>
                </a:solidFill>
              </a:rPr>
              <a:t>2. Peter told me that he </a:t>
            </a:r>
            <a:r>
              <a:rPr lang="en-US" sz="2800" b="1" dirty="0">
                <a:solidFill>
                  <a:srgbClr val="000000"/>
                </a:solidFill>
              </a:rPr>
              <a:t>has already finished/ had already finished/ already finished</a:t>
            </a:r>
            <a:r>
              <a:rPr lang="en-US" sz="2800" dirty="0">
                <a:solidFill>
                  <a:srgbClr val="000000"/>
                </a:solidFill>
              </a:rPr>
              <a:t> reading ‘Harry Porter’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800" dirty="0">
                <a:solidFill>
                  <a:srgbClr val="000000"/>
                </a:solidFill>
              </a:rPr>
              <a:t>3. Mary said she </a:t>
            </a:r>
            <a:r>
              <a:rPr lang="en-US" sz="2800" b="1" dirty="0">
                <a:solidFill>
                  <a:srgbClr val="000000"/>
                </a:solidFill>
              </a:rPr>
              <a:t>has never been/ had never been/ didn’t be</a:t>
            </a:r>
            <a:r>
              <a:rPr lang="en-US" sz="2800" dirty="0">
                <a:solidFill>
                  <a:srgbClr val="000000"/>
                </a:solidFill>
              </a:rPr>
              <a:t> to Paris before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800" dirty="0">
                <a:solidFill>
                  <a:srgbClr val="000000"/>
                </a:solidFill>
              </a:rPr>
              <a:t>4. When we came to the movie theater, the film </a:t>
            </a:r>
            <a:r>
              <a:rPr lang="en-US" sz="2800" b="1" dirty="0">
                <a:solidFill>
                  <a:srgbClr val="000000"/>
                </a:solidFill>
              </a:rPr>
              <a:t>had started/ started/ has started</a:t>
            </a:r>
            <a:r>
              <a:rPr lang="en-US" sz="2800" dirty="0">
                <a:solidFill>
                  <a:srgbClr val="000000"/>
                </a:solidFill>
              </a:rPr>
              <a:t>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800" dirty="0">
                <a:solidFill>
                  <a:srgbClr val="000000"/>
                </a:solidFill>
              </a:rPr>
              <a:t>5. As soon as Jane </a:t>
            </a:r>
            <a:r>
              <a:rPr lang="en-US" sz="2800" b="1" dirty="0">
                <a:solidFill>
                  <a:srgbClr val="000000"/>
                </a:solidFill>
              </a:rPr>
              <a:t>saw/ had seen/ has been seeing</a:t>
            </a:r>
            <a:r>
              <a:rPr lang="en-US" sz="2800" dirty="0">
                <a:solidFill>
                  <a:srgbClr val="000000"/>
                </a:solidFill>
              </a:rPr>
              <a:t> Jim, she </a:t>
            </a:r>
            <a:r>
              <a:rPr lang="en-US" sz="2800" b="1" dirty="0">
                <a:solidFill>
                  <a:srgbClr val="000000"/>
                </a:solidFill>
              </a:rPr>
              <a:t>stormed/ has stormed/ had stormed</a:t>
            </a:r>
            <a:r>
              <a:rPr lang="en-US" sz="2800" dirty="0">
                <a:solidFill>
                  <a:srgbClr val="000000"/>
                </a:solidFill>
              </a:rPr>
              <a:t> out of the room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2800" dirty="0">
              <a:solidFill>
                <a:srgbClr val="000000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7639665" y="1710813"/>
            <a:ext cx="1504335" cy="589935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7270955" y="2300748"/>
            <a:ext cx="3082413" cy="589935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5593555" y="3279058"/>
            <a:ext cx="2444316" cy="589935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7359446" y="3868993"/>
            <a:ext cx="1917290" cy="589935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3598606" y="4871883"/>
            <a:ext cx="884904" cy="589935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2187679" y="5299587"/>
            <a:ext cx="2015612" cy="589935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432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sz="4800" smtClean="0">
                <a:solidFill>
                  <a:schemeClr val="accent6">
                    <a:lumMod val="50000"/>
                  </a:schemeClr>
                </a:solidFill>
              </a:rPr>
              <a:t>Thank you </a:t>
            </a:r>
            <a:br>
              <a:rPr lang="en-US" sz="4800" smtClean="0">
                <a:solidFill>
                  <a:schemeClr val="accent6">
                    <a:lumMod val="50000"/>
                  </a:schemeClr>
                </a:solidFill>
              </a:rPr>
            </a:br>
            <a:r>
              <a:rPr lang="en-US" sz="4800" smtClean="0">
                <a:solidFill>
                  <a:schemeClr val="accent6">
                    <a:lumMod val="50000"/>
                  </a:schemeClr>
                </a:solidFill>
              </a:rPr>
              <a:t>for your attention!</a:t>
            </a:r>
            <a:endParaRPr lang="en-US" sz="48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body" idx="1"/>
          </p:nvPr>
        </p:nvSpPr>
        <p:spPr>
          <a:xfrm>
            <a:off x="3242930" y="4147795"/>
            <a:ext cx="7017488" cy="1963122"/>
          </a:xfrm>
        </p:spPr>
        <p:txBody>
          <a:bodyPr anchor="ctr">
            <a:normAutofit lnSpcReduction="10000"/>
          </a:bodyPr>
          <a:lstStyle/>
          <a:p>
            <a:pPr lvl="0"/>
            <a:r>
              <a:rPr lang="en-US">
                <a:solidFill>
                  <a:schemeClr val="accent6">
                    <a:lumMod val="75000"/>
                  </a:schemeClr>
                </a:solidFill>
              </a:rPr>
              <a:t>HỌC VIỆN ĐÀO TẠO QUỐC TẾ ANI</a:t>
            </a:r>
          </a:p>
          <a:p>
            <a:pPr lvl="0"/>
            <a:r>
              <a:rPr lang="en-US" cap="none" smtClean="0">
                <a:solidFill>
                  <a:schemeClr val="accent6">
                    <a:lumMod val="75000"/>
                  </a:schemeClr>
                </a:solidFill>
              </a:rPr>
              <a:t>103D Trường Chinh, Thành Phố Huế  </a:t>
            </a:r>
          </a:p>
          <a:p>
            <a:pPr lvl="0"/>
            <a:r>
              <a:rPr lang="en-US" cap="none" smtClean="0">
                <a:solidFill>
                  <a:schemeClr val="accent6">
                    <a:lumMod val="75000"/>
                  </a:schemeClr>
                </a:solidFill>
              </a:rPr>
              <a:t>Http://www.ani.edu.vn  </a:t>
            </a:r>
          </a:p>
          <a:p>
            <a:pPr lvl="0"/>
            <a:r>
              <a:rPr lang="en-US" cap="none" smtClean="0">
                <a:solidFill>
                  <a:schemeClr val="accent6">
                    <a:lumMod val="75000"/>
                  </a:schemeClr>
                </a:solidFill>
              </a:rPr>
              <a:t>S</a:t>
            </a:r>
            <a:r>
              <a:rPr lang="en-GB" cap="none" smtClean="0">
                <a:solidFill>
                  <a:schemeClr val="accent6">
                    <a:lumMod val="75000"/>
                  </a:schemeClr>
                </a:solidFill>
              </a:rPr>
              <a:t>upport@ani.edu.vn </a:t>
            </a:r>
          </a:p>
          <a:p>
            <a:pPr lvl="0"/>
            <a:r>
              <a:rPr lang="en-GB" cap="none" smtClean="0">
                <a:solidFill>
                  <a:schemeClr val="accent6">
                    <a:lumMod val="75000"/>
                  </a:schemeClr>
                </a:solidFill>
              </a:rPr>
              <a:t>(84)0234.3627999</a:t>
            </a:r>
            <a:endParaRPr lang="en-US" cap="none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4" name="Hình ảnh 14">
            <a:extLst>
              <a:ext uri="{FF2B5EF4-FFF2-40B4-BE49-F238E27FC236}">
                <a16:creationId xmlns:a16="http://schemas.microsoft.com/office/drawing/2014/main" id="{21DAF3B5-398A-44FF-8033-5661661FFDC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976"/>
          <a:stretch/>
        </p:blipFill>
        <p:spPr>
          <a:xfrm>
            <a:off x="120169" y="2588181"/>
            <a:ext cx="1828208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127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dge">
  <a:themeElements>
    <a:clrScheme name="Custom 1">
      <a:dk1>
        <a:srgbClr val="001722"/>
      </a:dk1>
      <a:lt1>
        <a:srgbClr val="FFFFFF"/>
      </a:lt1>
      <a:dk2>
        <a:srgbClr val="006599"/>
      </a:dk2>
      <a:lt2>
        <a:srgbClr val="FFFFFF"/>
      </a:lt2>
      <a:accent1>
        <a:srgbClr val="FFC000"/>
      </a:accent1>
      <a:accent2>
        <a:srgbClr val="FDE5A3"/>
      </a:accent2>
      <a:accent3>
        <a:srgbClr val="F5E8D8"/>
      </a:accent3>
      <a:accent4>
        <a:srgbClr val="EC7016"/>
      </a:accent4>
      <a:accent5>
        <a:srgbClr val="E64823"/>
      </a:accent5>
      <a:accent6>
        <a:srgbClr val="735503"/>
      </a:accent6>
      <a:hlink>
        <a:srgbClr val="FEF6E0"/>
      </a:hlink>
      <a:folHlink>
        <a:srgbClr val="FFFFFF"/>
      </a:folHlink>
    </a:clrScheme>
    <a:fontScheme name="Custom 3">
      <a:majorFont>
        <a:latin typeface="UTM Swiss 721 Black Condensed"/>
        <a:ea typeface=""/>
        <a:cs typeface=""/>
      </a:majorFont>
      <a:minorFont>
        <a:latin typeface="UTM Swiss Condensed"/>
        <a:ea typeface=""/>
        <a:cs typeface=""/>
      </a:minorFont>
    </a:fontScheme>
    <a:fmtScheme name="Badg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12700" cap="flat" cmpd="sng" algn="in">
          <a:solidFill>
            <a:schemeClr val="phClr"/>
          </a:solidFill>
          <a:prstDash val="solid"/>
        </a:ln>
        <a:ln w="5080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algn="ct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dge" id="{71A07785-5930-41D4-9A83-E23602B48E98}" vid="{771EA782-DFA6-45B1-AEA3-661F1715B310}"/>
    </a:ext>
  </a:extLst>
</a:theme>
</file>

<file path=ppt/theme/theme2.xml><?xml version="1.0" encoding="utf-8"?>
<a:theme xmlns:a="http://schemas.openxmlformats.org/drawingml/2006/main" name="1_Badge">
  <a:themeElements>
    <a:clrScheme name="ANI - PARA">
      <a:dk1>
        <a:srgbClr val="006599"/>
      </a:dk1>
      <a:lt1>
        <a:srgbClr val="FFFFFF"/>
      </a:lt1>
      <a:dk2>
        <a:srgbClr val="006599"/>
      </a:dk2>
      <a:lt2>
        <a:srgbClr val="FFFFFF"/>
      </a:lt2>
      <a:accent1>
        <a:srgbClr val="FFC000"/>
      </a:accent1>
      <a:accent2>
        <a:srgbClr val="FDE5A3"/>
      </a:accent2>
      <a:accent3>
        <a:srgbClr val="F5E8D8"/>
      </a:accent3>
      <a:accent4>
        <a:srgbClr val="EC7016"/>
      </a:accent4>
      <a:accent5>
        <a:srgbClr val="E64823"/>
      </a:accent5>
      <a:accent6>
        <a:srgbClr val="735503"/>
      </a:accent6>
      <a:hlink>
        <a:srgbClr val="FEF6E0"/>
      </a:hlink>
      <a:folHlink>
        <a:srgbClr val="FFFFFF"/>
      </a:folHlink>
    </a:clrScheme>
    <a:fontScheme name="Custom 3">
      <a:majorFont>
        <a:latin typeface="UTM Swiss 721 Black Condensed"/>
        <a:ea typeface=""/>
        <a:cs typeface=""/>
      </a:majorFont>
      <a:minorFont>
        <a:latin typeface="UTM Swiss Condensed"/>
        <a:ea typeface=""/>
        <a:cs typeface=""/>
      </a:minorFont>
    </a:fontScheme>
    <a:fmtScheme name="Badg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12700" cap="flat" cmpd="sng" algn="in">
          <a:solidFill>
            <a:schemeClr val="phClr"/>
          </a:solidFill>
          <a:prstDash val="solid"/>
        </a:ln>
        <a:ln w="5080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algn="ct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dge" id="{71A07785-5930-41D4-9A83-E23602B48E98}" vid="{771EA782-DFA6-45B1-AEA3-661F1715B31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 ANI 02</Template>
  <TotalTime>2264</TotalTime>
  <Words>404</Words>
  <Application>Microsoft Office PowerPoint</Application>
  <PresentationFormat>Widescreen</PresentationFormat>
  <Paragraphs>55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Gill Sans MT</vt:lpstr>
      <vt:lpstr>UTM Swiss 721 Black Condensed</vt:lpstr>
      <vt:lpstr>UTM Swiss Condensed</vt:lpstr>
      <vt:lpstr>Badge</vt:lpstr>
      <vt:lpstr>1_Badge</vt:lpstr>
      <vt:lpstr>think-cell Slide</vt:lpstr>
      <vt:lpstr>PowerPoint Presentation</vt:lpstr>
      <vt:lpstr>PowerPoint Presentation</vt:lpstr>
      <vt:lpstr>PowerPoint Presentation</vt:lpstr>
      <vt:lpstr>PowerPoint Presentation</vt:lpstr>
      <vt:lpstr>Usage 1</vt:lpstr>
      <vt:lpstr>Usage 2</vt:lpstr>
      <vt:lpstr>PowerPoint Presentation</vt:lpstr>
      <vt:lpstr>PowerPoint Presentation</vt:lpstr>
      <vt:lpstr>Thank you  for your attention!</vt:lpstr>
    </vt:vector>
  </TitlesOfParts>
  <Company>3977000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SCUSSING ESSAY</dc:title>
  <dc:creator>PHILONG</dc:creator>
  <cp:lastModifiedBy>ASUS</cp:lastModifiedBy>
  <cp:revision>177</cp:revision>
  <dcterms:created xsi:type="dcterms:W3CDTF">2017-01-10T12:13:54Z</dcterms:created>
  <dcterms:modified xsi:type="dcterms:W3CDTF">2023-03-15T12:39:09Z</dcterms:modified>
</cp:coreProperties>
</file>